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5.xml" ContentType="application/vnd.openxmlformats-officedocument.them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30.xml" ContentType="application/vnd.openxmlformats-officedocument.presentationml.tags+xml"/>
  <Override PartName="/ppt/notesSlides/notesSlide3.xml" ContentType="application/vnd.openxmlformats-officedocument.presentationml.notesSlide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857" r:id="rId6"/>
    <p:sldMasterId id="2147483831" r:id="rId7"/>
    <p:sldMasterId id="2147483861" r:id="rId8"/>
    <p:sldMasterId id="2147483931" r:id="rId9"/>
    <p:sldMasterId id="2147483984" r:id="rId10"/>
  </p:sldMasterIdLst>
  <p:notesMasterIdLst>
    <p:notesMasterId r:id="rId19"/>
  </p:notesMasterIdLst>
  <p:handoutMasterIdLst>
    <p:handoutMasterId r:id="rId20"/>
  </p:handoutMasterIdLst>
  <p:sldIdLst>
    <p:sldId id="310" r:id="rId11"/>
    <p:sldId id="312" r:id="rId12"/>
    <p:sldId id="2101" r:id="rId13"/>
    <p:sldId id="2096" r:id="rId14"/>
    <p:sldId id="2095" r:id="rId15"/>
    <p:sldId id="2097" r:id="rId16"/>
    <p:sldId id="2103" r:id="rId17"/>
    <p:sldId id="2104" r:id="rId18"/>
  </p:sldIdLst>
  <p:sldSz cx="12192000" cy="6858000"/>
  <p:notesSz cx="7315200" cy="9601200"/>
  <p:custDataLst>
    <p:tags r:id="rId21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5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5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5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5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itchFamily="34" charset="0"/>
        <a:ea typeface="ヒラギノ角ゴ Pro W3" pitchFamily="125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5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5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5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itchFamily="34" charset="0"/>
        <a:ea typeface="ヒラギノ角ゴ Pro W3" pitchFamily="125" charset="-128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orient="horz" pos="720" userDrawn="1">
          <p15:clr>
            <a:srgbClr val="A4A3A4"/>
          </p15:clr>
        </p15:guide>
        <p15:guide id="7" orient="horz" pos="4128" userDrawn="1">
          <p15:clr>
            <a:srgbClr val="A4A3A4"/>
          </p15:clr>
        </p15:guide>
        <p15:guide id="10" orient="horz" pos="1152" userDrawn="1">
          <p15:clr>
            <a:srgbClr val="A4A3A4"/>
          </p15:clr>
        </p15:guide>
        <p15:guide id="14" orient="horz" pos="192" userDrawn="1">
          <p15:clr>
            <a:srgbClr val="A4A3A4"/>
          </p15:clr>
        </p15:guide>
        <p15:guide id="15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2760FE1F-E40E-1BDC-A3D0-95F6A31E9AAC}" name="Volker Weyel" initials="VW" userId="S::V.Weyel@lions.de::35bea432-6830-4bc3-a282-8dc6475161d7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71" name="Burns, Andrea" initials="BA [55]" lastIdx="1" clrIdx="70"/>
  <p:cmAuthor id="1" name="Tamara" initials="TO" lastIdx="2" clrIdx="0"/>
  <p:cmAuthor id="72" name="Burns, Andrea" initials="BA [56]" lastIdx="1" clrIdx="71"/>
  <p:cmAuthor id="2" name="Tamara Osheroff" initials="TO" lastIdx="2" clrIdx="1"/>
  <p:cmAuthor id="73" name="Burns, Andrea" initials="BA [57]" lastIdx="1" clrIdx="72"/>
  <p:cmAuthor id="3" name="Tamara Osheroff" initials="TO [2]" lastIdx="1" clrIdx="2"/>
  <p:cmAuthor id="74" name="Burns, Andrea" initials="BA [58]" lastIdx="1" clrIdx="73"/>
  <p:cmAuthor id="4" name="Tamara Osheroff" initials="TO [3]" lastIdx="1" clrIdx="3"/>
  <p:cmAuthor id="75" name="Burns, Andrea" initials="BA [59]" lastIdx="1" clrIdx="74"/>
  <p:cmAuthor id="5" name="Tamara Osheroff" initials="TO [4]" lastIdx="1" clrIdx="4"/>
  <p:cmAuthor id="76" name="Burns, Andrea" initials="BA [60]" lastIdx="1" clrIdx="75"/>
  <p:cmAuthor id="6" name="Tamara Osheroff" initials="TO [5]" lastIdx="1" clrIdx="5"/>
  <p:cmAuthor id="77" name="Burns, Andrea" initials="BA [61]" lastIdx="1" clrIdx="76"/>
  <p:cmAuthor id="7" name="Tamara Osheroff" initials="TO [6]" lastIdx="1" clrIdx="6"/>
  <p:cmAuthor id="78" name="Burns, Andrea" initials="BA [62]" lastIdx="1" clrIdx="77"/>
  <p:cmAuthor id="8" name="Tamara Osheroff" initials="TO [7]" lastIdx="1" clrIdx="7"/>
  <p:cmAuthor id="79" name="Burns, Andrea" initials="BA [63]" lastIdx="1" clrIdx="78"/>
  <p:cmAuthor id="9" name="Tamara Osheroff" initials="TO [8]" lastIdx="1" clrIdx="8"/>
  <p:cmAuthor id="80" name="Burns, Andrea" initials="BA [64]" lastIdx="1" clrIdx="79"/>
  <p:cmAuthor id="10" name="Tamara Osheroff" initials="TO [9]" lastIdx="1" clrIdx="9"/>
  <p:cmAuthor id="81" name="Burns, Andrea" initials="BA [65]" lastIdx="1" clrIdx="80"/>
  <p:cmAuthor id="11" name="Tamara Osheroff" initials="TO [10]" lastIdx="1" clrIdx="10"/>
  <p:cmAuthor id="82" name="Hervey, Dan" initials="HD" lastIdx="1" clrIdx="81">
    <p:extLst>
      <p:ext uri="{19B8F6BF-5375-455C-9EA6-DF929625EA0E}">
        <p15:presenceInfo xmlns:p15="http://schemas.microsoft.com/office/powerpoint/2012/main" userId="S::dhervey@lionsclubs.org::3f259316-2ea9-4036-ace5-9fcd9ddeb733" providerId="AD"/>
      </p:ext>
    </p:extLst>
  </p:cmAuthor>
  <p:cmAuthor id="12" name="Tamara Osheroff" initials="TO [11]" lastIdx="1" clrIdx="11"/>
  <p:cmAuthor id="13" name="Tamara Osheroff" initials="TO [12]" lastIdx="1" clrIdx="12"/>
  <p:cmAuthor id="14" name="Tamara Osheroff" initials="TO [13]" lastIdx="1" clrIdx="13"/>
  <p:cmAuthor id="15" name="Tamara Osheroff" initials="TO [14]" lastIdx="1" clrIdx="14"/>
  <p:cmAuthor id="16" name="Tamara Osheroff" initials="TO [14] [2]" lastIdx="1" clrIdx="15"/>
  <p:cmAuthor id="17" name="Burns, Andrea" initials="BA" lastIdx="1" clrIdx="16"/>
  <p:cmAuthor id="18" name="Burns, Andrea" initials="BA [2]" lastIdx="1" clrIdx="17"/>
  <p:cmAuthor id="19" name="Burns, Andrea" initials="BA [3]" lastIdx="1" clrIdx="18"/>
  <p:cmAuthor id="20" name="Burns, Andrea" initials="BA [4]" lastIdx="1" clrIdx="19"/>
  <p:cmAuthor id="21" name="Burns, Andrea" initials="BA [5]" lastIdx="1" clrIdx="20"/>
  <p:cmAuthor id="22" name="Burns, Andrea" initials="BA [6]" lastIdx="1" clrIdx="21"/>
  <p:cmAuthor id="23" name="Burns, Andrea" initials="BA [7]" lastIdx="1" clrIdx="22"/>
  <p:cmAuthor id="24" name="Burns, Andrea" initials="BA [8]" lastIdx="1" clrIdx="23"/>
  <p:cmAuthor id="25" name="Burns, Andrea" initials="BA [9]" lastIdx="1" clrIdx="24"/>
  <p:cmAuthor id="26" name="Burns, Andrea" initials="BA [10]" lastIdx="1" clrIdx="25"/>
  <p:cmAuthor id="27" name="Burns, Andrea" initials="BA [11]" lastIdx="1" clrIdx="26"/>
  <p:cmAuthor id="28" name="Burns, Andrea" initials="BA [12]" lastIdx="1" clrIdx="27"/>
  <p:cmAuthor id="29" name="Burns, Andrea" initials="BA [13]" lastIdx="1" clrIdx="28"/>
  <p:cmAuthor id="30" name="Burns, Andrea" initials="BA [14]" lastIdx="1" clrIdx="29"/>
  <p:cmAuthor id="31" name="Burns, Andrea" initials="BA [15]" lastIdx="1" clrIdx="30"/>
  <p:cmAuthor id="32" name="Burns, Andrea" initials="BA [16]" lastIdx="1" clrIdx="31"/>
  <p:cmAuthor id="33" name="Burns, Andrea" initials="BA [17]" lastIdx="1" clrIdx="32"/>
  <p:cmAuthor id="34" name="Burns, Andrea" initials="BA [18]" lastIdx="1" clrIdx="33"/>
  <p:cmAuthor id="35" name="Burns, Andrea" initials="BA [19]" lastIdx="1" clrIdx="34"/>
  <p:cmAuthor id="36" name="Burns, Andrea" initials="BA [20]" lastIdx="1" clrIdx="35"/>
  <p:cmAuthor id="37" name="Burns, Andrea" initials="BA [21]" lastIdx="1" clrIdx="36"/>
  <p:cmAuthor id="38" name="Burns, Andrea" initials="BA [22]" lastIdx="1" clrIdx="37"/>
  <p:cmAuthor id="39" name="Burns, Andrea" initials="BA [23]" lastIdx="1" clrIdx="38"/>
  <p:cmAuthor id="40" name="Burns, Andrea" initials="BA [24]" lastIdx="1" clrIdx="39"/>
  <p:cmAuthor id="41" name="Burns, Andrea" initials="BA [25]" lastIdx="1" clrIdx="40"/>
  <p:cmAuthor id="42" name="Burns, Andrea" initials="BA [26]" lastIdx="1" clrIdx="41"/>
  <p:cmAuthor id="43" name="Burns, Andrea" initials="BA [27]" lastIdx="1" clrIdx="42"/>
  <p:cmAuthor id="44" name="Burns, Andrea" initials="BA [28]" lastIdx="1" clrIdx="43"/>
  <p:cmAuthor id="45" name="Burns, Andrea" initials="BA [29]" lastIdx="1" clrIdx="44"/>
  <p:cmAuthor id="46" name="Burns, Andrea" initials="BA [30]" lastIdx="1" clrIdx="45"/>
  <p:cmAuthor id="47" name="Burns, Andrea" initials="BA [31]" lastIdx="1" clrIdx="46"/>
  <p:cmAuthor id="48" name="Burns, Andrea" initials="BA [32]" lastIdx="1" clrIdx="47"/>
  <p:cmAuthor id="49" name="Burns, Andrea" initials="BA [33]" lastIdx="1" clrIdx="48"/>
  <p:cmAuthor id="50" name="Burns, Andrea" initials="BA [34]" lastIdx="1" clrIdx="49"/>
  <p:cmAuthor id="51" name="Burns, Andrea" initials="BA [35]" lastIdx="0" clrIdx="50"/>
  <p:cmAuthor id="52" name="Burns, Andrea" initials="BA [36]" lastIdx="1" clrIdx="51"/>
  <p:cmAuthor id="53" name="Burns, Andrea" initials="BA [37]" lastIdx="1" clrIdx="52"/>
  <p:cmAuthor id="54" name="Burns, Andrea" initials="BA [38]" lastIdx="1" clrIdx="53"/>
  <p:cmAuthor id="55" name="Burns, Andrea" initials="BA [39]" lastIdx="1" clrIdx="54"/>
  <p:cmAuthor id="56" name="Burns, Andrea" initials="BA [40]" lastIdx="1" clrIdx="55"/>
  <p:cmAuthor id="57" name="Burns, Andrea" initials="BA [41]" lastIdx="1" clrIdx="56"/>
  <p:cmAuthor id="58" name="Burns, Andrea" initials="BA [42]" lastIdx="1" clrIdx="57"/>
  <p:cmAuthor id="59" name="Burns, Andrea" initials="BA [43]" lastIdx="1" clrIdx="58"/>
  <p:cmAuthor id="60" name="Burns, Andrea" initials="BA [44]" lastIdx="1" clrIdx="59"/>
  <p:cmAuthor id="61" name="Burns, Andrea" initials="BA [45]" lastIdx="1" clrIdx="60"/>
  <p:cmAuthor id="62" name="Burns, Andrea" initials="BA [46]" lastIdx="1" clrIdx="61"/>
  <p:cmAuthor id="63" name="Burns, Andrea" initials="BA [47]" lastIdx="1" clrIdx="62"/>
  <p:cmAuthor id="64" name="Burns, Andrea" initials="BA [48]" lastIdx="1" clrIdx="63"/>
  <p:cmAuthor id="65" name="Burns, Andrea" initials="BA [49]" lastIdx="1" clrIdx="64"/>
  <p:cmAuthor id="66" name="Burns, Andrea" initials="BA [50]" lastIdx="1" clrIdx="65"/>
  <p:cmAuthor id="67" name="Burns, Andrea" initials="BA [51]" lastIdx="1" clrIdx="66"/>
  <p:cmAuthor id="68" name="Burns, Andrea" initials="BA [52]" lastIdx="1" clrIdx="67"/>
  <p:cmAuthor id="69" name="Burns, Andrea" initials="BA [53]" lastIdx="1" clrIdx="68"/>
  <p:cmAuthor id="70" name="Burns, Andrea" initials="BA [54]" lastIdx="1" clrIdx="69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2F2F2"/>
    <a:srgbClr val="FFFF00"/>
    <a:srgbClr val="C2E49C"/>
    <a:srgbClr val="5C4640"/>
    <a:srgbClr val="BC876F"/>
    <a:srgbClr val="FFFFFF"/>
    <a:srgbClr val="7A2682"/>
    <a:srgbClr val="407CCA"/>
    <a:srgbClr val="FF5C35"/>
    <a:srgbClr val="EBB7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565" autoAdjust="0"/>
    <p:restoredTop sz="95726" autoAdjust="0"/>
  </p:normalViewPr>
  <p:slideViewPr>
    <p:cSldViewPr showGuides="1">
      <p:cViewPr varScale="1">
        <p:scale>
          <a:sx n="102" d="100"/>
          <a:sy n="102" d="100"/>
        </p:scale>
        <p:origin x="666" y="72"/>
      </p:cViewPr>
      <p:guideLst>
        <p:guide orient="horz" pos="720"/>
        <p:guide orient="horz" pos="4128"/>
        <p:guide orient="horz" pos="1152"/>
        <p:guide orient="horz" pos="192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40" d="100"/>
        <a:sy n="140" d="100"/>
      </p:scale>
      <p:origin x="0" y="0"/>
    </p:cViewPr>
  </p:notesTextViewPr>
  <p:sorterViewPr>
    <p:cViewPr>
      <p:scale>
        <a:sx n="130" d="100"/>
        <a:sy n="130" d="100"/>
      </p:scale>
      <p:origin x="0" y="0"/>
    </p:cViewPr>
  </p:sorterViewPr>
  <p:notesViewPr>
    <p:cSldViewPr showGuides="1">
      <p:cViewPr varScale="1">
        <p:scale>
          <a:sx n="92" d="100"/>
          <a:sy n="92" d="100"/>
        </p:scale>
        <p:origin x="3080" y="19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3.xml"/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tags" Target="tags/tag1.xml"/><Relationship Id="rId7" Type="http://schemas.openxmlformats.org/officeDocument/2006/relationships/slideMaster" Target="slideMasters/slideMaster2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1.xml"/><Relationship Id="rId24" Type="http://schemas.openxmlformats.org/officeDocument/2006/relationships/viewProps" Target="view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5.xml"/><Relationship Id="rId23" Type="http://schemas.openxmlformats.org/officeDocument/2006/relationships/presProps" Target="presProps.xml"/><Relationship Id="rId10" Type="http://schemas.openxmlformats.org/officeDocument/2006/relationships/slideMaster" Target="slideMasters/slideMaster5.xml"/><Relationship Id="rId19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4.xml"/><Relationship Id="rId14" Type="http://schemas.openxmlformats.org/officeDocument/2006/relationships/slide" Target="slides/slide4.xml"/><Relationship Id="rId22" Type="http://schemas.openxmlformats.org/officeDocument/2006/relationships/commentAuthors" Target="commentAuthors.xml"/><Relationship Id="rId27" Type="http://schemas.microsoft.com/office/2018/10/relationships/authors" Target="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583" cy="480887"/>
          </a:xfrm>
          <a:prstGeom prst="rect">
            <a:avLst/>
          </a:prstGeom>
        </p:spPr>
        <p:txBody>
          <a:bodyPr vert="horz" lIns="95280" tIns="47640" rIns="95280" bIns="4764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8662"/>
            <a:ext cx="3170583" cy="480887"/>
          </a:xfrm>
          <a:prstGeom prst="rect">
            <a:avLst/>
          </a:prstGeom>
        </p:spPr>
        <p:txBody>
          <a:bodyPr vert="horz" lIns="95280" tIns="47640" rIns="95280" bIns="4764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8662"/>
            <a:ext cx="3170583" cy="480887"/>
          </a:xfrm>
          <a:prstGeom prst="rect">
            <a:avLst/>
          </a:prstGeom>
        </p:spPr>
        <p:txBody>
          <a:bodyPr vert="horz" wrap="square" lIns="95280" tIns="47640" rIns="95280" bIns="47640" numCol="1" anchor="b" anchorCtr="0" compatLnSpc="1">
            <a:prstTxWarp prst="textNoShape">
              <a:avLst/>
            </a:prstTxWarp>
          </a:bodyPr>
          <a:lstStyle>
            <a:lvl1pPr algn="r">
              <a:defRPr sz="1300" smtClean="0">
                <a:latin typeface="Calibri" pitchFamily="34" charset="0"/>
              </a:defRPr>
            </a:lvl1pPr>
          </a:lstStyle>
          <a:p>
            <a:pPr>
              <a:defRPr/>
            </a:pPr>
            <a:fld id="{1E64A479-6DF5-45F9-A38D-2D86FF822EDD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83062128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583" cy="480887"/>
          </a:xfrm>
          <a:prstGeom prst="rect">
            <a:avLst/>
          </a:prstGeom>
        </p:spPr>
        <p:txBody>
          <a:bodyPr vert="horz" lIns="96329" tIns="48164" rIns="96329" bIns="48164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2962" y="0"/>
            <a:ext cx="3170583" cy="480887"/>
          </a:xfrm>
          <a:prstGeom prst="rect">
            <a:avLst/>
          </a:prstGeom>
        </p:spPr>
        <p:txBody>
          <a:bodyPr vert="horz" wrap="square" lIns="96329" tIns="48164" rIns="96329" bIns="48164" numCol="1" anchor="t" anchorCtr="0" compatLnSpc="1">
            <a:prstTxWarp prst="textNoShape">
              <a:avLst/>
            </a:prstTxWarp>
          </a:bodyPr>
          <a:lstStyle>
            <a:lvl1pPr algn="r">
              <a:defRPr sz="1300" smtClean="0">
                <a:latin typeface="Calibri" pitchFamily="34" charset="0"/>
              </a:defRPr>
            </a:lvl1pPr>
          </a:lstStyle>
          <a:p>
            <a:pPr>
              <a:defRPr/>
            </a:pPr>
            <a:fld id="{DA1377C3-FA04-4196-A641-E871B28A80A8}" type="datetimeFigureOut">
              <a:rPr lang="en-US"/>
              <a:pPr>
                <a:defRPr/>
              </a:pPr>
              <a:t>5/15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60375" y="720725"/>
            <a:ext cx="6396038" cy="35988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329" tIns="48164" rIns="96329" bIns="48164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2183" y="4560984"/>
            <a:ext cx="5850835" cy="4319714"/>
          </a:xfrm>
          <a:prstGeom prst="rect">
            <a:avLst/>
          </a:prstGeom>
        </p:spPr>
        <p:txBody>
          <a:bodyPr vert="horz" lIns="96329" tIns="48164" rIns="96329" bIns="48164" rtlCol="0">
            <a:normAutofit/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8662"/>
            <a:ext cx="3170583" cy="480887"/>
          </a:xfrm>
          <a:prstGeom prst="rect">
            <a:avLst/>
          </a:prstGeom>
        </p:spPr>
        <p:txBody>
          <a:bodyPr vert="horz" lIns="96329" tIns="48164" rIns="96329" bIns="48164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2962" y="9118662"/>
            <a:ext cx="3170583" cy="480887"/>
          </a:xfrm>
          <a:prstGeom prst="rect">
            <a:avLst/>
          </a:prstGeom>
        </p:spPr>
        <p:txBody>
          <a:bodyPr vert="horz" wrap="square" lIns="96329" tIns="48164" rIns="96329" bIns="48164" numCol="1" anchor="b" anchorCtr="0" compatLnSpc="1">
            <a:prstTxWarp prst="textNoShape">
              <a:avLst/>
            </a:prstTxWarp>
          </a:bodyPr>
          <a:lstStyle>
            <a:lvl1pPr algn="r">
              <a:defRPr sz="1300" smtClean="0">
                <a:latin typeface="Calibri" pitchFamily="34" charset="0"/>
              </a:defRPr>
            </a:lvl1pPr>
          </a:lstStyle>
          <a:p>
            <a:pPr>
              <a:defRPr/>
            </a:pPr>
            <a:fld id="{6627F33C-24D4-41C1-BFA2-68160C39F89C}" type="slidenum">
              <a:rPr lang="en-US"/>
              <a:pPr>
                <a:defRPr/>
              </a:pPr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5069277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ヒラギノ角ゴ Pro W3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ヒラギノ角ゴ Pro W3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3" Type="http://schemas.openxmlformats.org/officeDocument/2006/relationships/hyperlink" Target="https://drive.google.com/file/d/1DdzApgas2vYozCG-q81Eoi3cGWMTdOUc/view?usp=sharing" TargetMode="External"/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As a rule of thumb, 10-12 youth camps are held in Germany every year. Unfortunately, there have been fewer since the start of Corona. We hope that the situation will improve .In NH, both a youth camp and the International Youth Forum 2023 will take place this year. All youth camps 2023 in our MD are fully booked.</a:t>
            </a:r>
          </a:p>
          <a:p>
            <a:r>
              <a:rPr lang="en-US" dirty="0"/>
              <a:t>The Youth Forum used to be a European Summer </a:t>
            </a:r>
            <a:r>
              <a:rPr lang="en-US" dirty="0" err="1"/>
              <a:t>Acadamy</a:t>
            </a:r>
            <a:r>
              <a:rPr lang="en-US" dirty="0"/>
              <a:t> but is now open to participants outside Europe too. There is on application from the US and also from Asia and South America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9A98B6-3392-4190-8BC6-B4EF2A88DF4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ヒラギノ角ゴ Pro W3" pitchFamily="125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ヒラギノ角ゴ Pro W3" pitchFamily="125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118347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z="1000" u="sng" dirty="0">
                <a:solidFill>
                  <a:srgbClr val="0000FF"/>
                </a:solidFill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  <a:hlinkClick r:id="rId3"/>
              </a:rPr>
              <a:t>https://drive.google.com/file/d/1DdzApgas2vYozCG-q81Eoi3cGWMTdOUc/view?usp=sharing</a:t>
            </a:r>
            <a:br>
              <a:rPr lang="de-DE" sz="1200" dirty="0">
                <a:effectLst/>
                <a:latin typeface="Aptos" panose="020B0004020202020204" pitchFamily="34" charset="0"/>
                <a:ea typeface="Times New Roman" panose="02020603050405020304" pitchFamily="18" charset="0"/>
                <a:cs typeface="Aptos" panose="020B0004020202020204" pitchFamily="34" charset="0"/>
              </a:rPr>
            </a:b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396024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rPr>
              <a:t>How?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rPr>
              <a:t>Camps and homestays </a:t>
            </a:r>
          </a:p>
          <a:p>
            <a:pPr marL="285750" marR="0" lvl="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rPr>
              <a:t>open up paths into the world for young people </a:t>
            </a:r>
          </a:p>
          <a:p>
            <a:pPr marL="285750" marR="0" lvl="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rPr>
              <a:t>build bridges between cultures strengthen young people and offer them spaces for international exchange among peers </a:t>
            </a:r>
          </a:p>
          <a:p>
            <a:pPr marL="285750" marR="0" lvl="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rPr>
              <a:t>stand up for mutual respect and understanding towards all people </a:t>
            </a:r>
          </a:p>
          <a:p>
            <a:pPr marL="285750" marR="0" lvl="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rPr>
              <a:t>show  the Lions commitment as a role model for the young generations</a:t>
            </a:r>
          </a:p>
          <a:p>
            <a:pPr marL="285750" marR="0" lvl="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rPr>
              <a:t>show commitment and financial support for socially disadvantaged young people</a:t>
            </a:r>
          </a:p>
          <a:p>
            <a:pPr marL="285750" marR="0" lvl="0" indent="-228600" algn="l" defTabSz="914400" rtl="0" eaLnBrk="1" fontAlgn="base" latinLnBrk="0" hangingPunct="1">
              <a:lnSpc>
                <a:spcPct val="9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rPr>
              <a:t>make the youths fit for the challenges facing humanity today and tomorrow</a:t>
            </a:r>
          </a:p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9A98B6-3392-4190-8BC6-B4EF2A88DF4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ヒラギノ角ゴ Pro W3" pitchFamily="125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ヒラギノ角ゴ Pro W3" pitchFamily="125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6011567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89A98B6-3392-4190-8BC6-B4EF2A88DF4C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ptos" panose="02110004020202020204"/>
                <a:ea typeface="ヒラギノ角ゴ Pro W3" pitchFamily="125" charset="-128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ptos" panose="02110004020202020204"/>
              <a:ea typeface="ヒラギノ角ゴ Pro W3" pitchFamily="125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9777534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he indispensable Lions contribution to international </a:t>
            </a:r>
            <a:r>
              <a:rPr lang="en-US" dirty="0" err="1"/>
              <a:t>understanding!In</a:t>
            </a:r>
            <a:r>
              <a:rPr lang="en-US" dirty="0"/>
              <a:t> our Lions Youth Exchange, young people gain formative intercultural experiences and make friends around the </a:t>
            </a:r>
            <a:r>
              <a:rPr lang="en-US" dirty="0" err="1"/>
              <a:t>world.In</a:t>
            </a:r>
            <a:r>
              <a:rPr lang="en-US" dirty="0"/>
              <a:t> this way, our young people become global citizens who work together and not against each other.</a:t>
            </a:r>
          </a:p>
        </p:txBody>
      </p:sp>
    </p:spTree>
    <p:extLst>
      <p:ext uri="{BB962C8B-B14F-4D97-AF65-F5344CB8AC3E}">
        <p14:creationId xmlns:p14="http://schemas.microsoft.com/office/powerpoint/2010/main" val="134350277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image" Target="../media/image9.jp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3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6.xml"/><Relationship Id="rId4" Type="http://schemas.openxmlformats.org/officeDocument/2006/relationships/image" Target="../media/image10.emf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8.xml"/><Relationship Id="rId4" Type="http://schemas.openxmlformats.org/officeDocument/2006/relationships/image" Target="../media/image10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0.xml"/><Relationship Id="rId4" Type="http://schemas.openxmlformats.org/officeDocument/2006/relationships/image" Target="../media/image1.emf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1.xml"/><Relationship Id="rId4" Type="http://schemas.openxmlformats.org/officeDocument/2006/relationships/image" Target="../media/image1.emf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2.xml"/><Relationship Id="rId4" Type="http://schemas.openxmlformats.org/officeDocument/2006/relationships/image" Target="../media/image1.emf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3.xml"/><Relationship Id="rId4" Type="http://schemas.openxmlformats.org/officeDocument/2006/relationships/image" Target="../media/image1.emf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5.xml"/><Relationship Id="rId4" Type="http://schemas.openxmlformats.org/officeDocument/2006/relationships/image" Target="../media/image1.emf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6.xml"/><Relationship Id="rId4" Type="http://schemas.openxmlformats.org/officeDocument/2006/relationships/image" Target="../media/image1.emf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7.xml"/><Relationship Id="rId4" Type="http://schemas.openxmlformats.org/officeDocument/2006/relationships/image" Target="../media/image1.emf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28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emf"/><Relationship Id="rId2" Type="http://schemas.openxmlformats.org/officeDocument/2006/relationships/image" Target="../media/image3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mple Corporate 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119DD8C5-BFF5-8648-9A1A-E9B3DA1F3752}"/>
              </a:ext>
            </a:extLst>
          </p:cNvPr>
          <p:cNvSpPr/>
          <p:nvPr userDrawn="1"/>
        </p:nvSpPr>
        <p:spPr>
          <a:xfrm>
            <a:off x="5225844" y="4343400"/>
            <a:ext cx="1740310" cy="87312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113622" tIns="56812" rIns="113622" bIns="56812"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965598A-95CA-5A4E-8FC5-A9B0CA0F6D2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38881" y="1600200"/>
            <a:ext cx="2514236" cy="2380982"/>
          </a:xfrm>
          <a:prstGeom prst="rect">
            <a:avLst/>
          </a:prstGeom>
        </p:spPr>
      </p:pic>
      <p:sp>
        <p:nvSpPr>
          <p:cNvPr id="4" name="Text Placeholder 20">
            <a:extLst>
              <a:ext uri="{FF2B5EF4-FFF2-40B4-BE49-F238E27FC236}">
                <a16:creationId xmlns:a16="http://schemas.microsoft.com/office/drawing/2014/main" id="{F88B8F7D-AFD9-F346-BF11-A1E5CF85B20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4800600"/>
            <a:ext cx="10668000" cy="1066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b="1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Insert name here</a:t>
            </a:r>
          </a:p>
        </p:txBody>
      </p:sp>
    </p:spTree>
    <p:extLst>
      <p:ext uri="{BB962C8B-B14F-4D97-AF65-F5344CB8AC3E}">
        <p14:creationId xmlns:p14="http://schemas.microsoft.com/office/powerpoint/2010/main" val="18466336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</p:bld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6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E74D1AD-D57F-5440-BE7B-98B13C10EC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5" y="1219200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1">
                <a:solidFill>
                  <a:srgbClr val="0A5496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8869BDF-F147-3242-B3B9-51909D49BAB7}"/>
              </a:ext>
            </a:extLst>
          </p:cNvPr>
          <p:cNvSpPr/>
          <p:nvPr userDrawn="1"/>
        </p:nvSpPr>
        <p:spPr>
          <a:xfrm>
            <a:off x="5370871" y="1975122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60D8B9-AE71-4842-9AE0-E07B875049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16934" y="2895600"/>
            <a:ext cx="10758130" cy="2813289"/>
          </a:xfrm>
          <a:prstGeom prst="rect">
            <a:avLst/>
          </a:prstGeom>
        </p:spPr>
        <p:txBody>
          <a:bodyPr/>
          <a:lstStyle>
            <a:lvl1pPr marL="0" marR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charset="0"/>
              <a:buNone/>
              <a:tabLst/>
              <a:defRPr sz="20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19099" indent="0">
              <a:buNone/>
              <a:defRPr sz="2400">
                <a:solidFill>
                  <a:schemeClr val="accent6">
                    <a:lumMod val="50000"/>
                    <a:lumOff val="50000"/>
                  </a:schemeClr>
                </a:solidFill>
              </a:defRPr>
            </a:lvl2pPr>
            <a:lvl3pPr marL="914377" indent="0">
              <a:buNone/>
              <a:defRPr sz="24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371565" indent="0">
              <a:buNone/>
              <a:defRPr sz="2400">
                <a:solidFill>
                  <a:schemeClr val="accent6">
                    <a:lumMod val="50000"/>
                    <a:lumOff val="50000"/>
                  </a:schemeClr>
                </a:solidFill>
              </a:defRPr>
            </a:lvl4pPr>
            <a:lvl5pPr marL="1828755" indent="0">
              <a:buNone/>
              <a:defRPr sz="24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marL="342900" indent="-342900">
              <a:buFont typeface="Arial" charset="0"/>
              <a:buChar char="•"/>
            </a:pP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d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sz="20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5902690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7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FCF6221C-0E44-F44E-8595-80D0F82E7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898" y="2209800"/>
            <a:ext cx="10744199" cy="838200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5000"/>
              </a:lnSpc>
              <a:spcAft>
                <a:spcPts val="600"/>
              </a:spcAft>
              <a:buNone/>
              <a:defRPr sz="1800" b="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marL="0" indent="0" algn="ctr">
              <a:lnSpc>
                <a:spcPct val="105000"/>
              </a:lnSpc>
              <a:spcAft>
                <a:spcPts val="600"/>
              </a:spcAft>
              <a:buNone/>
            </a:pP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d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</a:t>
            </a:r>
            <a:endParaRPr lang="en-US" dirty="0">
              <a:solidFill>
                <a:schemeClr val="accent6">
                  <a:lumMod val="50000"/>
                  <a:lumOff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AB72BEE2-03B4-2545-81E3-ABE63641DB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762000" y="188705"/>
            <a:ext cx="5672943" cy="53519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rgbClr val="082E87"/>
                </a:solidFill>
              </a:defRPr>
            </a:lvl1pPr>
          </a:lstStyle>
          <a:p>
            <a:pPr lvl="0"/>
            <a:r>
              <a:rPr lang="en-US" dirty="0"/>
              <a:t>Category title</a:t>
            </a:r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59888B77-07E3-9A42-A8CB-943105B79966}"/>
              </a:ext>
            </a:extLst>
          </p:cNvPr>
          <p:cNvSpPr/>
          <p:nvPr userDrawn="1"/>
        </p:nvSpPr>
        <p:spPr bwMode="auto">
          <a:xfrm>
            <a:off x="228600" y="234696"/>
            <a:ext cx="451104" cy="451104"/>
          </a:xfrm>
          <a:prstGeom prst="ellipse">
            <a:avLst/>
          </a:prstGeom>
          <a:solidFill>
            <a:srgbClr val="E6583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r>
              <a:rPr kumimoji="0" lang="en-US" sz="2000" b="1" i="0" u="none" strike="noStrike" cap="none" normalizeH="0">
                <a:ln>
                  <a:noFill/>
                </a:ln>
                <a:solidFill>
                  <a:schemeClr val="bg1"/>
                </a:solidFill>
                <a:effectLst/>
                <a:ea typeface="ヒラギノ角ゴ Pro W3" pitchFamily="84" charset="-128"/>
              </a:rPr>
              <a:t>1</a:t>
            </a: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4277D64-B959-AC48-B275-075752BD12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91185" y="1219200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1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CB5BA6-37A1-F640-A8DA-26F2DD3B24E2}"/>
              </a:ext>
            </a:extLst>
          </p:cNvPr>
          <p:cNvSpPr/>
          <p:nvPr userDrawn="1"/>
        </p:nvSpPr>
        <p:spPr>
          <a:xfrm>
            <a:off x="5370871" y="1975122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9531691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2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FCF6221C-0E44-F44E-8595-80D0F82E7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23898" y="2209800"/>
            <a:ext cx="10744199" cy="838200"/>
          </a:xfrm>
          <a:prstGeom prst="rect">
            <a:avLst/>
          </a:prstGeom>
        </p:spPr>
        <p:txBody>
          <a:bodyPr anchor="t"/>
          <a:lstStyle>
            <a:lvl1pPr marL="0" indent="0" algn="ctr">
              <a:lnSpc>
                <a:spcPct val="105000"/>
              </a:lnSpc>
              <a:spcAft>
                <a:spcPts val="600"/>
              </a:spcAft>
              <a:buNone/>
              <a:defRPr sz="1800" b="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marL="0" indent="0" algn="ctr">
              <a:lnSpc>
                <a:spcPct val="105000"/>
              </a:lnSpc>
              <a:spcAft>
                <a:spcPts val="600"/>
              </a:spcAft>
              <a:buNone/>
            </a:pP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d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</a:t>
            </a:r>
            <a:endParaRPr lang="en-US" dirty="0">
              <a:solidFill>
                <a:schemeClr val="accent6">
                  <a:lumMod val="50000"/>
                  <a:lumOff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D4277D64-B959-AC48-B275-075752BD12E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991185" y="1219200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1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4DCB5BA6-37A1-F640-A8DA-26F2DD3B24E2}"/>
              </a:ext>
            </a:extLst>
          </p:cNvPr>
          <p:cNvSpPr/>
          <p:nvPr userDrawn="1"/>
        </p:nvSpPr>
        <p:spPr>
          <a:xfrm>
            <a:off x="5370871" y="1975122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5740601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8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96553C-DF57-164B-9450-8F4D3684B2B3}"/>
              </a:ext>
            </a:extLst>
          </p:cNvPr>
          <p:cNvSpPr/>
          <p:nvPr userDrawn="1"/>
        </p:nvSpPr>
        <p:spPr>
          <a:xfrm>
            <a:off x="0" y="762000"/>
            <a:ext cx="457200" cy="370296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947430FC-FE32-B74E-974B-43A4E64504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724626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 b="1">
                <a:solidFill>
                  <a:srgbClr val="0A5496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28087873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0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1496553C-DF57-164B-9450-8F4D3684B2B3}"/>
              </a:ext>
            </a:extLst>
          </p:cNvPr>
          <p:cNvSpPr/>
          <p:nvPr userDrawn="1"/>
        </p:nvSpPr>
        <p:spPr>
          <a:xfrm>
            <a:off x="0" y="762000"/>
            <a:ext cx="457200" cy="370296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947430FC-FE32-B74E-974B-43A4E64504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0" y="724626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 b="1">
                <a:solidFill>
                  <a:srgbClr val="0A5496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4507B777-698F-C84A-A526-2C7A61B44535}"/>
              </a:ext>
            </a:extLst>
          </p:cNvPr>
          <p:cNvSpPr/>
          <p:nvPr userDrawn="1"/>
        </p:nvSpPr>
        <p:spPr bwMode="auto">
          <a:xfrm>
            <a:off x="1295400" y="4038600"/>
            <a:ext cx="451104" cy="451104"/>
          </a:xfrm>
          <a:prstGeom prst="ellipse">
            <a:avLst/>
          </a:prstGeom>
          <a:solidFill>
            <a:srgbClr val="E6583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r>
              <a:rPr kumimoji="0" lang="en-US" sz="2000" b="1" i="0" u="none" strike="noStrike" cap="none" normalizeH="0">
                <a:ln>
                  <a:noFill/>
                </a:ln>
                <a:solidFill>
                  <a:schemeClr val="bg1"/>
                </a:solidFill>
                <a:effectLst/>
                <a:ea typeface="ヒラギノ角ゴ Pro W3" pitchFamily="84" charset="-128"/>
              </a:rPr>
              <a:t>2</a:t>
            </a: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0D0AE14C-9AFE-DA4F-9E4D-93339D4463E8}"/>
              </a:ext>
            </a:extLst>
          </p:cNvPr>
          <p:cNvSpPr/>
          <p:nvPr userDrawn="1"/>
        </p:nvSpPr>
        <p:spPr bwMode="auto">
          <a:xfrm>
            <a:off x="1295400" y="3200400"/>
            <a:ext cx="451104" cy="451104"/>
          </a:xfrm>
          <a:prstGeom prst="ellipse">
            <a:avLst/>
          </a:prstGeom>
          <a:solidFill>
            <a:srgbClr val="E6583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r>
              <a:rPr kumimoji="0" lang="en-US" sz="2000" b="1" i="0" u="none" strike="noStrike" cap="none" normalizeH="0">
                <a:ln>
                  <a:noFill/>
                </a:ln>
                <a:solidFill>
                  <a:schemeClr val="bg1"/>
                </a:solidFill>
                <a:effectLst/>
                <a:ea typeface="ヒラギノ角ゴ Pro W3" pitchFamily="84" charset="-128"/>
              </a:rPr>
              <a:t>1</a:t>
            </a:r>
          </a:p>
        </p:txBody>
      </p:sp>
      <p:sp>
        <p:nvSpPr>
          <p:cNvPr id="8" name="Oval 7">
            <a:extLst>
              <a:ext uri="{FF2B5EF4-FFF2-40B4-BE49-F238E27FC236}">
                <a16:creationId xmlns:a16="http://schemas.microsoft.com/office/drawing/2014/main" id="{D028AB64-FBC6-364F-9A39-9AD2A09396CE}"/>
              </a:ext>
            </a:extLst>
          </p:cNvPr>
          <p:cNvSpPr/>
          <p:nvPr userDrawn="1"/>
        </p:nvSpPr>
        <p:spPr bwMode="auto">
          <a:xfrm>
            <a:off x="1295400" y="4876800"/>
            <a:ext cx="451104" cy="451104"/>
          </a:xfrm>
          <a:prstGeom prst="ellipse">
            <a:avLst/>
          </a:prstGeom>
          <a:solidFill>
            <a:srgbClr val="E6583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r>
              <a:rPr kumimoji="0" lang="en-US" sz="2000" b="1" i="0" u="none" strike="noStrike" cap="none" normalizeH="0">
                <a:ln>
                  <a:noFill/>
                </a:ln>
                <a:solidFill>
                  <a:schemeClr val="bg1"/>
                </a:solidFill>
                <a:effectLst/>
                <a:ea typeface="ヒラギノ角ゴ Pro W3" pitchFamily="84" charset="-128"/>
              </a:rPr>
              <a:t>3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3170CF0-CEE5-7147-949E-C2EFC816739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9801" y="2359152"/>
            <a:ext cx="10019199" cy="3810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  <a:lvl2pPr marL="687392" indent="0">
              <a:buNone/>
              <a:defRPr/>
            </a:lvl2pPr>
          </a:lstStyle>
          <a:p>
            <a:pPr>
              <a:lnSpc>
                <a:spcPts val="2880"/>
              </a:lnSpc>
              <a:spcBef>
                <a:spcPts val="0"/>
              </a:spcBef>
              <a:spcAft>
                <a:spcPts val="3000"/>
              </a:spcAft>
            </a:pPr>
            <a:r>
              <a:rPr lang="en-US" sz="2200" b="1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Insert subhead</a:t>
            </a:r>
          </a:p>
          <a:p>
            <a:pPr marL="914400" lvl="1">
              <a:spcAft>
                <a:spcPts val="3000"/>
              </a:spcAft>
            </a:pP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d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 </a:t>
            </a:r>
          </a:p>
          <a:p>
            <a:pPr marL="914400" lvl="1">
              <a:spcAft>
                <a:spcPts val="3000"/>
              </a:spcAft>
            </a:pPr>
            <a:b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</a:b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d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 </a:t>
            </a:r>
            <a:br>
              <a:rPr lang="en-US" sz="1600" dirty="0">
                <a:solidFill>
                  <a:schemeClr val="bg1">
                    <a:lumMod val="50000"/>
                  </a:schemeClr>
                </a:solidFill>
                <a:latin typeface="Arial" charset="0"/>
                <a:ea typeface="Arial" charset="0"/>
                <a:cs typeface="Arial" charset="0"/>
              </a:rPr>
            </a:br>
            <a:endParaRPr lang="en-US" sz="1600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marL="914400" lvl="1">
              <a:spcAft>
                <a:spcPts val="3000"/>
              </a:spcAft>
            </a:pP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d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60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sz="160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</a:t>
            </a:r>
            <a:endParaRPr lang="en-US" sz="1600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br>
              <a:rPr lang="en-US" sz="1600" dirty="0">
                <a:latin typeface="Arial" charset="0"/>
                <a:ea typeface="Arial" charset="0"/>
                <a:cs typeface="Arial" charset="0"/>
              </a:rPr>
            </a:br>
            <a:endParaRPr lang="en-US" sz="1600" b="1" dirty="0">
              <a:solidFill>
                <a:schemeClr val="bg1">
                  <a:lumMod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622579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1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947430FC-FE32-B74E-974B-43A4E64504ED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85801" y="1524000"/>
            <a:ext cx="5943600" cy="1711842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 b="1">
                <a:solidFill>
                  <a:srgbClr val="0A5496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algn="l"/>
            <a:r>
              <a:rPr lang="en-US" sz="36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36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36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sz="36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36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sz="36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36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sz="36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sz="36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36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36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36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36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endParaRPr lang="en-US" sz="3600" b="1" kern="0" dirty="0">
              <a:solidFill>
                <a:srgbClr val="0A5496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C450F16-13B4-8641-BEC2-30D0F02A10B9}"/>
              </a:ext>
            </a:extLst>
          </p:cNvPr>
          <p:cNvSpPr/>
          <p:nvPr userDrawn="1"/>
        </p:nvSpPr>
        <p:spPr>
          <a:xfrm>
            <a:off x="0" y="1559442"/>
            <a:ext cx="426125" cy="129540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9B10F788-B238-A047-9D63-9E7F4DF3064B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7315200" y="1524000"/>
            <a:ext cx="4267200" cy="32766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AEF310D-EEFB-A045-8822-B89AA367EF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85800" y="3464442"/>
            <a:ext cx="5943600" cy="12954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19099" indent="0">
              <a:buNone/>
              <a:defRPr sz="1800">
                <a:solidFill>
                  <a:schemeClr val="accent6">
                    <a:lumMod val="50000"/>
                    <a:lumOff val="50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371565" indent="0">
              <a:buNone/>
              <a:defRPr sz="1800">
                <a:solidFill>
                  <a:schemeClr val="accent6">
                    <a:lumMod val="50000"/>
                    <a:lumOff val="50000"/>
                  </a:schemeClr>
                </a:solidFill>
              </a:defRPr>
            </a:lvl4pPr>
            <a:lvl5pPr marL="1828755" indent="0">
              <a:buNone/>
              <a:defRPr sz="18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marL="0" indent="0">
              <a:buNone/>
            </a:pP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Ut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nim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ad minim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veniam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quis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nostrud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exercitation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ullamco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is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isi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ut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liquip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ex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a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ommodo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onsequat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uis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ute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irure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dolor in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reprehenderit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voluptate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velit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se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illum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olore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u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fugiat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nulla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18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ariatur</a:t>
            </a:r>
            <a:r>
              <a:rPr lang="en-US" sz="18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91975093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9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9A366BBF-229C-C44C-AF59-4ACC2BB0C3B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70323"/>
          <a:stretch/>
        </p:blipFill>
        <p:spPr>
          <a:xfrm>
            <a:off x="-1" y="1"/>
            <a:ext cx="12189522" cy="2057400"/>
          </a:xfrm>
          <a:prstGeom prst="rect">
            <a:avLst/>
          </a:prstGeom>
        </p:spPr>
      </p:pic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4B2DAA68-1FEC-B844-9D68-5B89C97E05F6}"/>
              </a:ext>
            </a:extLst>
          </p:cNvPr>
          <p:cNvSpPr/>
          <p:nvPr userDrawn="1"/>
        </p:nvSpPr>
        <p:spPr>
          <a:xfrm>
            <a:off x="0" y="0"/>
            <a:ext cx="12189524" cy="2057401"/>
          </a:xfrm>
          <a:prstGeom prst="rect">
            <a:avLst/>
          </a:prstGeom>
          <a:solidFill>
            <a:schemeClr val="tx1">
              <a:lumMod val="75000"/>
              <a:alpha val="69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r>
              <a:rPr lang="en-US">
                <a:solidFill>
                  <a:schemeClr val="lt1">
                    <a:alpha val="44000"/>
                  </a:schemeClr>
                </a:solidFill>
              </a:rPr>
              <a:t>    </a:t>
            </a:r>
          </a:p>
        </p:txBody>
      </p:sp>
    </p:spTree>
    <p:extLst>
      <p:ext uri="{BB962C8B-B14F-4D97-AF65-F5344CB8AC3E}">
        <p14:creationId xmlns:p14="http://schemas.microsoft.com/office/powerpoint/2010/main" val="290000518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 Image" hidden="1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Overlay">
            <a:extLst>
              <a:ext uri="{FF2B5EF4-FFF2-40B4-BE49-F238E27FC236}">
                <a16:creationId xmlns:a16="http://schemas.microsoft.com/office/drawing/2014/main" id="{38FBF2CF-0FA6-9943-84EB-29395595E7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8" name="Page number"/>
          <p:cNvSpPr txBox="1">
            <a:spLocks noChangeArrowheads="1"/>
          </p:cNvSpPr>
          <p:nvPr userDrawn="1"/>
        </p:nvSpPr>
        <p:spPr bwMode="auto">
          <a:xfrm>
            <a:off x="11201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7288A19-C912-48FD-BBDD-B6C475FAB7E0}" type="slidenum">
              <a:rPr lang="en-US" sz="1000" smtClean="0">
                <a:solidFill>
                  <a:schemeClr val="bg1"/>
                </a:solidFill>
              </a:rPr>
              <a:pPr algn="r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10" name="Gold Bar">
            <a:extLst>
              <a:ext uri="{FF2B5EF4-FFF2-40B4-BE49-F238E27FC236}">
                <a16:creationId xmlns:a16="http://schemas.microsoft.com/office/drawing/2014/main" id="{3509414D-8F08-BA44-95D8-7C522F70C50B}"/>
              </a:ext>
            </a:extLst>
          </p:cNvPr>
          <p:cNvSpPr/>
          <p:nvPr userDrawn="1"/>
        </p:nvSpPr>
        <p:spPr>
          <a:xfrm>
            <a:off x="5506829" y="3290132"/>
            <a:ext cx="1178336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/>
          </a:p>
        </p:txBody>
      </p:sp>
      <p:pic>
        <p:nvPicPr>
          <p:cNvPr id="12" name="Logo" descr="lionlogo_white.eps">
            <a:extLst>
              <a:ext uri="{FF2B5EF4-FFF2-40B4-BE49-F238E27FC236}">
                <a16:creationId xmlns:a16="http://schemas.microsoft.com/office/drawing/2014/main" id="{814D9E97-17D2-5B41-946E-3E27ABF6EAA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370" y="1242318"/>
            <a:ext cx="1751259" cy="1708354"/>
          </a:xfrm>
          <a:prstGeom prst="rect">
            <a:avLst/>
          </a:prstGeom>
        </p:spPr>
      </p:pic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313D063B-9FFA-7F4F-B298-6BEEC4FE5AA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2000" y="3657600"/>
            <a:ext cx="10668000" cy="9144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1">
                <a:solidFill>
                  <a:srgbClr val="F0C300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3A89380-D473-6C42-ACCA-BB4117594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4800600"/>
            <a:ext cx="10668000" cy="10668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65479685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sion breaker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erlay">
            <a:extLst>
              <a:ext uri="{FF2B5EF4-FFF2-40B4-BE49-F238E27FC236}">
                <a16:creationId xmlns:a16="http://schemas.microsoft.com/office/drawing/2014/main" id="{89790728-0DD7-1F42-9A48-48A941B20D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5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7C1B2E00-2594-E34D-8908-64A6305E3B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201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7288A19-C912-48FD-BBDD-B6C475FAB7E0}" type="slidenum">
              <a:rPr lang="en-US" sz="1000" smtClean="0">
                <a:solidFill>
                  <a:schemeClr val="bg1"/>
                </a:solidFill>
              </a:rPr>
              <a:pPr algn="r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5" y="3206478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413014056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Main Titl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 Image" hidden="1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Overlay">
            <a:extLst>
              <a:ext uri="{FF2B5EF4-FFF2-40B4-BE49-F238E27FC236}">
                <a16:creationId xmlns:a16="http://schemas.microsoft.com/office/drawing/2014/main" id="{38FBF2CF-0FA6-9943-84EB-29395595E7E4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8" name="Page number"/>
          <p:cNvSpPr txBox="1">
            <a:spLocks noChangeArrowheads="1"/>
          </p:cNvSpPr>
          <p:nvPr userDrawn="1"/>
        </p:nvSpPr>
        <p:spPr bwMode="auto">
          <a:xfrm>
            <a:off x="11201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r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7288A19-C912-48FD-BBDD-B6C475FAB7E0}" type="slidenum">
              <a:rPr lang="en-US" sz="1000" smtClean="0">
                <a:solidFill>
                  <a:schemeClr val="bg1"/>
                </a:solidFill>
              </a:rPr>
              <a:pPr algn="r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chemeClr val="bg1"/>
              </a:solidFill>
            </a:endParaRPr>
          </a:p>
        </p:txBody>
      </p:sp>
      <p:pic>
        <p:nvPicPr>
          <p:cNvPr id="12" name="Logo" descr="lionlogo_white.eps">
            <a:extLst>
              <a:ext uri="{FF2B5EF4-FFF2-40B4-BE49-F238E27FC236}">
                <a16:creationId xmlns:a16="http://schemas.microsoft.com/office/drawing/2014/main" id="{814D9E97-17D2-5B41-946E-3E27ABF6EAAA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220370" y="1242318"/>
            <a:ext cx="1751259" cy="1708354"/>
          </a:xfrm>
          <a:prstGeom prst="rect">
            <a:avLst/>
          </a:prstGeom>
        </p:spPr>
      </p:pic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83A89380-D473-6C42-ACCA-BB411759488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362200" y="3276600"/>
            <a:ext cx="7239000" cy="17526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sz="2400" dirty="0">
                <a:solidFill>
                  <a:schemeClr val="bg1"/>
                </a:solidFill>
              </a:rPr>
              <a:t>Lorem ipsum dolor sit amet, illud </a:t>
            </a:r>
            <a:r>
              <a:rPr lang="en-US" sz="2400" dirty="0" err="1">
                <a:solidFill>
                  <a:schemeClr val="bg1"/>
                </a:solidFill>
              </a:rPr>
              <a:t>dolorem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voluptaria</a:t>
            </a:r>
            <a:r>
              <a:rPr lang="en-US" sz="2400" dirty="0">
                <a:solidFill>
                  <a:schemeClr val="bg1"/>
                </a:solidFill>
              </a:rPr>
              <a:t> id vel. Duo no </a:t>
            </a:r>
            <a:r>
              <a:rPr lang="en-US" sz="2400" dirty="0" err="1">
                <a:solidFill>
                  <a:schemeClr val="bg1"/>
                </a:solidFill>
              </a:rPr>
              <a:t>prompta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accusam</a:t>
            </a:r>
            <a:r>
              <a:rPr lang="en-US" sz="2400" dirty="0">
                <a:solidFill>
                  <a:schemeClr val="bg1"/>
                </a:solidFill>
              </a:rPr>
              <a:t>, </a:t>
            </a:r>
            <a:r>
              <a:rPr lang="en-US" sz="2400" dirty="0" err="1">
                <a:solidFill>
                  <a:schemeClr val="bg1"/>
                </a:solidFill>
              </a:rPr>
              <a:t>discere</a:t>
            </a:r>
            <a:r>
              <a:rPr lang="en-US" sz="2400" dirty="0">
                <a:solidFill>
                  <a:schemeClr val="bg1"/>
                </a:solidFill>
              </a:rPr>
              <a:t> minimum </a:t>
            </a:r>
            <a:r>
              <a:rPr lang="en-US" sz="2400" dirty="0" err="1">
                <a:solidFill>
                  <a:schemeClr val="bg1"/>
                </a:solidFill>
              </a:rPr>
              <a:t>corrumpit</a:t>
            </a:r>
            <a:r>
              <a:rPr lang="en-US" sz="2400" dirty="0">
                <a:solidFill>
                  <a:schemeClr val="bg1"/>
                </a:solidFill>
              </a:rPr>
              <a:t> </a:t>
            </a:r>
            <a:r>
              <a:rPr lang="en-US" sz="2400" dirty="0" err="1">
                <a:solidFill>
                  <a:schemeClr val="bg1"/>
                </a:solidFill>
              </a:rPr>
              <a:t>vel</a:t>
            </a:r>
            <a:r>
              <a:rPr lang="en-US" sz="2400" dirty="0">
                <a:solidFill>
                  <a:schemeClr val="bg1"/>
                </a:solidFill>
              </a:rPr>
              <a:t> no.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576702AB-F472-3E42-8B73-5A9060BEBD56}"/>
              </a:ext>
            </a:extLst>
          </p:cNvPr>
          <p:cNvSpPr/>
          <p:nvPr userDrawn="1"/>
        </p:nvSpPr>
        <p:spPr>
          <a:xfrm>
            <a:off x="1562167" y="2847219"/>
            <a:ext cx="1513719" cy="1541444"/>
          </a:xfrm>
          <a:prstGeom prst="rect">
            <a:avLst/>
          </a:prstGeom>
        </p:spPr>
        <p:txBody>
          <a:bodyPr wrap="square" lIns="63496" tIns="31748" rIns="63496" bIns="31748">
            <a:spAutoFit/>
          </a:bodyPr>
          <a:lstStyle/>
          <a:p>
            <a:pPr algn="ctr"/>
            <a:r>
              <a:rPr lang="en-US" sz="9600" b="1">
                <a:solidFill>
                  <a:srgbClr val="FBC608"/>
                </a:solidFill>
                <a:latin typeface="Open Sans"/>
                <a:cs typeface="Open Sans"/>
              </a:rPr>
              <a:t>“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38745428-B285-9548-963E-056B5B4D3C03}"/>
              </a:ext>
            </a:extLst>
          </p:cNvPr>
          <p:cNvSpPr/>
          <p:nvPr userDrawn="1"/>
        </p:nvSpPr>
        <p:spPr>
          <a:xfrm>
            <a:off x="8922958" y="4129884"/>
            <a:ext cx="1513719" cy="1541444"/>
          </a:xfrm>
          <a:prstGeom prst="rect">
            <a:avLst/>
          </a:prstGeom>
        </p:spPr>
        <p:txBody>
          <a:bodyPr wrap="square" lIns="63496" tIns="31748" rIns="63496" bIns="31748">
            <a:spAutoFit/>
          </a:bodyPr>
          <a:lstStyle/>
          <a:p>
            <a:pPr algn="ctr"/>
            <a:r>
              <a:rPr lang="en-US" sz="9600" b="1">
                <a:solidFill>
                  <a:srgbClr val="FBC608"/>
                </a:solidFill>
                <a:latin typeface="Open Sans"/>
                <a:cs typeface="Open San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6806446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1" grpId="0"/>
      <p:bldP spid="13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/>
          <p:cNvSpPr/>
          <p:nvPr userDrawn="1"/>
        </p:nvSpPr>
        <p:spPr>
          <a:xfrm>
            <a:off x="5334000" y="3048000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/>
          </a:p>
        </p:txBody>
      </p:sp>
      <p:sp>
        <p:nvSpPr>
          <p:cNvPr id="7" name="Title 1"/>
          <p:cNvSpPr>
            <a:spLocks noGrp="1"/>
          </p:cNvSpPr>
          <p:nvPr>
            <p:ph type="title" hasCustomPrompt="1"/>
          </p:nvPr>
        </p:nvSpPr>
        <p:spPr>
          <a:xfrm>
            <a:off x="-1" y="1362736"/>
            <a:ext cx="12174807" cy="1325563"/>
          </a:xfrm>
          <a:prstGeom prst="rect">
            <a:avLst/>
          </a:prstGeom>
        </p:spPr>
        <p:txBody>
          <a:bodyPr>
            <a:normAutofit/>
          </a:bodyPr>
          <a:lstStyle>
            <a:lvl1pPr algn="ctr">
              <a:defRPr sz="3600" b="1" i="0">
                <a:solidFill>
                  <a:srgbClr val="095495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n-US" dirty="0"/>
              <a:t>INSERT SINGLE LINE CONTENT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1147763" y="3763982"/>
            <a:ext cx="9845675" cy="2041525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 algn="ctr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1pPr>
            <a:lvl2pPr marL="457200" indent="0" algn="ctr">
              <a:buFontTx/>
              <a:buNone/>
              <a:defRPr sz="2400"/>
            </a:lvl2pPr>
            <a:lvl3pPr marL="914400" indent="0" algn="ctr">
              <a:buFontTx/>
              <a:buNone/>
              <a:defRPr sz="2400"/>
            </a:lvl3pPr>
            <a:lvl4pPr marL="1371600" indent="0" algn="ctr">
              <a:buFontTx/>
              <a:buNone/>
              <a:defRPr sz="2400"/>
            </a:lvl4pPr>
            <a:lvl5pPr marL="1828800" indent="0" algn="ctr">
              <a:buFontTx/>
              <a:buNone/>
              <a:defRPr sz="2400"/>
            </a:lvl5pPr>
          </a:lstStyle>
          <a:p>
            <a:pPr lvl="0"/>
            <a:r>
              <a:rPr lang="en-US" dirty="0"/>
              <a:t>Click to edit Master text styles</a:t>
            </a:r>
            <a:br>
              <a:rPr lang="en-US" dirty="0"/>
            </a:br>
            <a:r>
              <a:rPr lang="en-US" dirty="0"/>
              <a:t>Second level</a:t>
            </a:r>
            <a:br>
              <a:rPr lang="en-US" dirty="0"/>
            </a:br>
            <a:r>
              <a:rPr lang="en-US" dirty="0"/>
              <a:t>Third level</a:t>
            </a:r>
            <a:br>
              <a:rPr lang="en-US" dirty="0"/>
            </a:br>
            <a:r>
              <a:rPr lang="en-US" dirty="0"/>
              <a:t>Fourth level</a:t>
            </a:r>
            <a:br>
              <a:rPr lang="en-US" dirty="0"/>
            </a:br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6075987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Vision breaker Slide">
    <p:bg>
      <p:bgPr>
        <a:solidFill>
          <a:schemeClr val="accent6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erlay">
            <a:extLst>
              <a:ext uri="{FF2B5EF4-FFF2-40B4-BE49-F238E27FC236}">
                <a16:creationId xmlns:a16="http://schemas.microsoft.com/office/drawing/2014/main" id="{9867D72A-78B6-BB41-9E26-24D654E9B4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7C1B2E00-2594-E34D-8908-64A6305E3B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30000" y="6400800"/>
            <a:ext cx="3302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7288A19-C912-48FD-BBDD-B6C475FAB7E0}" type="slidenum">
              <a:rPr lang="en-US" sz="1000" smtClean="0">
                <a:solidFill>
                  <a:schemeClr val="bg1"/>
                </a:solidFill>
              </a:rPr>
              <a:pPr algn="r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chemeClr val="bg1"/>
              </a:solidFill>
            </a:endParaRP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5" y="3191238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E13CCD-82B0-8141-A54C-7576C8221ACF}"/>
              </a:ext>
            </a:extLst>
          </p:cNvPr>
          <p:cNvSpPr/>
          <p:nvPr userDrawn="1"/>
        </p:nvSpPr>
        <p:spPr>
          <a:xfrm>
            <a:off x="5370871" y="3962400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A951A9-91CA-064C-8D91-1F99DBF4F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0850" y="4361279"/>
            <a:ext cx="6210300" cy="1524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519099" indent="0">
              <a:buNone/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ullet 01</a:t>
            </a:r>
          </a:p>
          <a:p>
            <a:pPr lvl="0"/>
            <a:r>
              <a:rPr lang="en-US" dirty="0"/>
              <a:t>Bullet 02</a:t>
            </a:r>
          </a:p>
          <a:p>
            <a:pPr lvl="0"/>
            <a:r>
              <a:rPr lang="en-US" dirty="0"/>
              <a:t>Bullet 03</a:t>
            </a:r>
          </a:p>
          <a:p>
            <a:pPr lvl="0"/>
            <a:r>
              <a:rPr lang="en-US" dirty="0"/>
              <a:t>Bullet 04</a:t>
            </a:r>
          </a:p>
        </p:txBody>
      </p:sp>
    </p:spTree>
    <p:extLst>
      <p:ext uri="{BB962C8B-B14F-4D97-AF65-F5344CB8AC3E}">
        <p14:creationId xmlns:p14="http://schemas.microsoft.com/office/powerpoint/2010/main" val="167538657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Vision breaker Slide">
    <p:bg>
      <p:bgPr>
        <a:solidFill>
          <a:srgbClr val="1023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8103715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ft Title Slid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erlay">
            <a:extLst>
              <a:ext uri="{FF2B5EF4-FFF2-40B4-BE49-F238E27FC236}">
                <a16:creationId xmlns:a16="http://schemas.microsoft.com/office/drawing/2014/main" id="{89790728-0DD7-1F42-9A48-48A941B20D9A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6" name="Gold Bar">
            <a:extLst>
              <a:ext uri="{FF2B5EF4-FFF2-40B4-BE49-F238E27FC236}">
                <a16:creationId xmlns:a16="http://schemas.microsoft.com/office/drawing/2014/main" id="{C4B2230D-595B-5246-A3B2-FB53F20DDBA8}"/>
              </a:ext>
            </a:extLst>
          </p:cNvPr>
          <p:cNvSpPr/>
          <p:nvPr userDrawn="1"/>
        </p:nvSpPr>
        <p:spPr>
          <a:xfrm>
            <a:off x="792677" y="3883983"/>
            <a:ext cx="1178336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/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61999" y="3206478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600" b="1">
                <a:solidFill>
                  <a:schemeClr val="bg1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1F6599DE-5FEF-F349-BA19-07E55E17405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62000" y="4189206"/>
            <a:ext cx="7696200" cy="535194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33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sert subhead</a:t>
            </a:r>
          </a:p>
        </p:txBody>
      </p:sp>
    </p:spTree>
    <p:extLst>
      <p:ext uri="{BB962C8B-B14F-4D97-AF65-F5344CB8AC3E}">
        <p14:creationId xmlns:p14="http://schemas.microsoft.com/office/powerpoint/2010/main" val="353990109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Vision breaker Slide">
    <p:bg>
      <p:bgPr>
        <a:solidFill>
          <a:srgbClr val="10233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5" y="3206478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715367982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adient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F7E290E0-8CE6-F24F-9F6F-55AEF23BA2BC}"/>
              </a:ext>
            </a:extLst>
          </p:cNvPr>
          <p:cNvSpPr/>
          <p:nvPr userDrawn="1"/>
        </p:nvSpPr>
        <p:spPr>
          <a:xfrm>
            <a:off x="0" y="0"/>
            <a:ext cx="12217791" cy="6858000"/>
          </a:xfrm>
          <a:prstGeom prst="rect">
            <a:avLst/>
          </a:prstGeom>
          <a:gradFill flip="none" rotWithShape="1">
            <a:gsLst>
              <a:gs pos="0">
                <a:srgbClr val="000238"/>
              </a:gs>
              <a:gs pos="100000">
                <a:srgbClr val="3F3F54"/>
              </a:gs>
            </a:gsLst>
            <a:lin ang="3420000" scaled="0"/>
            <a:tileRect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latin typeface="Open Sans Light"/>
            </a:endParaRPr>
          </a:p>
        </p:txBody>
      </p:sp>
    </p:spTree>
    <p:extLst>
      <p:ext uri="{BB962C8B-B14F-4D97-AF65-F5344CB8AC3E}">
        <p14:creationId xmlns:p14="http://schemas.microsoft.com/office/powerpoint/2010/main" val="331216264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Vision breaker Slide">
    <p:bg>
      <p:bgPr>
        <a:solidFill>
          <a:schemeClr val="accent6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verlay">
            <a:extLst>
              <a:ext uri="{FF2B5EF4-FFF2-40B4-BE49-F238E27FC236}">
                <a16:creationId xmlns:a16="http://schemas.microsoft.com/office/drawing/2014/main" id="{9867D72A-78B6-BB41-9E26-24D654E9B44E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tx1">
              <a:lumMod val="5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 dirty="0">
              <a:solidFill>
                <a:schemeClr val="lt1">
                  <a:alpha val="44000"/>
                </a:schemeClr>
              </a:solidFill>
            </a:endParaRPr>
          </a:p>
        </p:txBody>
      </p:sp>
      <p:sp>
        <p:nvSpPr>
          <p:cNvPr id="5" name="Page number">
            <a:extLst>
              <a:ext uri="{FF2B5EF4-FFF2-40B4-BE49-F238E27FC236}">
                <a16:creationId xmlns:a16="http://schemas.microsoft.com/office/drawing/2014/main" id="{7C1B2E00-2594-E34D-8908-64A6305E3BA3}"/>
              </a:ext>
            </a:extLst>
          </p:cNvPr>
          <p:cNvSpPr txBox="1">
            <a:spLocks noChangeArrowheads="1"/>
          </p:cNvSpPr>
          <p:nvPr userDrawn="1"/>
        </p:nvSpPr>
        <p:spPr bwMode="auto">
          <a:xfrm>
            <a:off x="11430000" y="6400800"/>
            <a:ext cx="3302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rIns="0" anchor="ctr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itchFamily="34" charset="0"/>
                <a:ea typeface="ヒラギノ角ゴ Pro W3" pitchFamily="125" charset="-128"/>
              </a:defRPr>
            </a:lvl9pPr>
          </a:lstStyle>
          <a:p>
            <a:pPr algn="r">
              <a:spcBef>
                <a:spcPct val="50000"/>
              </a:spcBef>
              <a:defRPr/>
            </a:pPr>
            <a:fld id="{27288A19-C912-48FD-BBDD-B6C475FAB7E0}" type="slidenum">
              <a:rPr lang="en-US" sz="1000" smtClean="0">
                <a:solidFill>
                  <a:schemeClr val="bg1"/>
                </a:solidFill>
              </a:rPr>
              <a:pPr algn="r">
                <a:spcBef>
                  <a:spcPct val="50000"/>
                </a:spcBef>
                <a:defRPr/>
              </a:pPr>
              <a:t>‹Nr.›</a:t>
            </a:fld>
            <a:endParaRPr lang="en-US" sz="1000" dirty="0">
              <a:solidFill>
                <a:schemeClr val="bg1"/>
              </a:solidFill>
            </a:endParaRPr>
          </a:p>
        </p:txBody>
      </p:sp>
      <p:sp>
        <p:nvSpPr>
          <p:cNvPr id="8" name="Text Placeholder 18">
            <a:extLst>
              <a:ext uri="{FF2B5EF4-FFF2-40B4-BE49-F238E27FC236}">
                <a16:creationId xmlns:a16="http://schemas.microsoft.com/office/drawing/2014/main" id="{2A1C6F64-979F-8D40-A629-0132753DB79E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5" y="3191238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4000" b="1">
                <a:solidFill>
                  <a:schemeClr val="bg1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EBE13CCD-82B0-8141-A54C-7576C8221ACF}"/>
              </a:ext>
            </a:extLst>
          </p:cNvPr>
          <p:cNvSpPr/>
          <p:nvPr userDrawn="1"/>
        </p:nvSpPr>
        <p:spPr>
          <a:xfrm>
            <a:off x="5370871" y="3962400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BA951A9-91CA-064C-8D91-1F99DBF4F72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990850" y="4361279"/>
            <a:ext cx="6210300" cy="1524000"/>
          </a:xfrm>
          <a:prstGeom prst="rect">
            <a:avLst/>
          </a:prstGeom>
        </p:spPr>
        <p:txBody>
          <a:bodyPr/>
          <a:lstStyle>
            <a:lvl1pPr>
              <a:defRPr sz="2000">
                <a:solidFill>
                  <a:schemeClr val="bg1"/>
                </a:solidFill>
              </a:defRPr>
            </a:lvl1pPr>
            <a:lvl2pPr marL="519099" indent="0">
              <a:buNone/>
              <a:defRPr sz="2000">
                <a:solidFill>
                  <a:schemeClr val="bg1"/>
                </a:solidFill>
              </a:defRPr>
            </a:lvl2pPr>
            <a:lvl3pPr>
              <a:defRPr sz="2000">
                <a:solidFill>
                  <a:schemeClr val="bg1"/>
                </a:solidFill>
              </a:defRPr>
            </a:lvl3pPr>
            <a:lvl4pPr>
              <a:defRPr sz="2000">
                <a:solidFill>
                  <a:schemeClr val="bg1"/>
                </a:solidFill>
              </a:defRPr>
            </a:lvl4pPr>
            <a:lvl5pPr>
              <a:defRPr sz="20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Bullet 01</a:t>
            </a:r>
          </a:p>
          <a:p>
            <a:pPr lvl="0"/>
            <a:r>
              <a:rPr lang="en-US" dirty="0"/>
              <a:t>Bullet 02</a:t>
            </a:r>
          </a:p>
          <a:p>
            <a:pPr lvl="0"/>
            <a:r>
              <a:rPr lang="en-US" dirty="0"/>
              <a:t>Bullet 03</a:t>
            </a:r>
          </a:p>
          <a:p>
            <a:pPr lvl="0"/>
            <a:r>
              <a:rPr lang="en-US" dirty="0"/>
              <a:t>Bullet 04</a:t>
            </a:r>
          </a:p>
        </p:txBody>
      </p:sp>
    </p:spTree>
    <p:extLst>
      <p:ext uri="{BB962C8B-B14F-4D97-AF65-F5344CB8AC3E}">
        <p14:creationId xmlns:p14="http://schemas.microsoft.com/office/powerpoint/2010/main" val="31561689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D46B078-CEFE-09BD-85FE-560ABB3E8A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615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D46B078-CEFE-09BD-85FE-560ABB3E8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978919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3AE5E90-E524-E3F3-CCA9-5FDE6EB2C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532120" cy="6858000"/>
          </a:xfrm>
          <a:custGeom>
            <a:avLst/>
            <a:gdLst>
              <a:gd name="connsiteX0" fmla="*/ 0 w 5532120"/>
              <a:gd name="connsiteY0" fmla="*/ 0 h 6858000"/>
              <a:gd name="connsiteX1" fmla="*/ 5532120 w 5532120"/>
              <a:gd name="connsiteY1" fmla="*/ 0 h 6858000"/>
              <a:gd name="connsiteX2" fmla="*/ 5532120 w 5532120"/>
              <a:gd name="connsiteY2" fmla="*/ 6858000 h 6858000"/>
              <a:gd name="connsiteX3" fmla="*/ 0 w 553212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32120" h="6858000">
                <a:moveTo>
                  <a:pt x="0" y="0"/>
                </a:moveTo>
                <a:lnTo>
                  <a:pt x="5532120" y="0"/>
                </a:lnTo>
                <a:lnTo>
                  <a:pt x="553212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5C95725-9481-FF46-F27D-0C434F0B09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208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04912574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2F5BA94-E282-EC3E-ED53-FCB8A50882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489077"/>
            <a:ext cx="6542792" cy="4654548"/>
          </a:xfrm>
          <a:custGeom>
            <a:avLst/>
            <a:gdLst>
              <a:gd name="connsiteX0" fmla="*/ 0 w 6542792"/>
              <a:gd name="connsiteY0" fmla="*/ 0 h 4654548"/>
              <a:gd name="connsiteX1" fmla="*/ 6542792 w 6542792"/>
              <a:gd name="connsiteY1" fmla="*/ 0 h 4654548"/>
              <a:gd name="connsiteX2" fmla="*/ 3909900 w 6542792"/>
              <a:gd name="connsiteY2" fmla="*/ 4654548 h 4654548"/>
              <a:gd name="connsiteX3" fmla="*/ 0 w 6542792"/>
              <a:gd name="connsiteY3" fmla="*/ 4654548 h 4654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42792" h="4654548">
                <a:moveTo>
                  <a:pt x="0" y="0"/>
                </a:moveTo>
                <a:lnTo>
                  <a:pt x="6542792" y="0"/>
                </a:lnTo>
                <a:lnTo>
                  <a:pt x="3909900" y="4654548"/>
                </a:lnTo>
                <a:lnTo>
                  <a:pt x="0" y="465454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31AF51-C927-9E91-D65C-E818F0BE63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604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624389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FDD709-1F37-5001-F32D-2C535C16AD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7232375" cy="6857998"/>
          </a:xfrm>
          <a:custGeom>
            <a:avLst/>
            <a:gdLst>
              <a:gd name="connsiteX0" fmla="*/ 0 w 7232375"/>
              <a:gd name="connsiteY0" fmla="*/ 0 h 6857998"/>
              <a:gd name="connsiteX1" fmla="*/ 2571750 w 7232375"/>
              <a:gd name="connsiteY1" fmla="*/ 0 h 6857998"/>
              <a:gd name="connsiteX2" fmla="*/ 2593182 w 7232375"/>
              <a:gd name="connsiteY2" fmla="*/ 0 h 6857998"/>
              <a:gd name="connsiteX3" fmla="*/ 2928366 w 7232375"/>
              <a:gd name="connsiteY3" fmla="*/ 0 h 6857998"/>
              <a:gd name="connsiteX4" fmla="*/ 2962275 w 7232375"/>
              <a:gd name="connsiteY4" fmla="*/ 0 h 6857998"/>
              <a:gd name="connsiteX5" fmla="*/ 7232375 w 7232375"/>
              <a:gd name="connsiteY5" fmla="*/ 0 h 6857998"/>
              <a:gd name="connsiteX6" fmla="*/ 3272905 w 7232375"/>
              <a:gd name="connsiteY6" fmla="*/ 6857998 h 6857998"/>
              <a:gd name="connsiteX7" fmla="*/ 2962275 w 7232375"/>
              <a:gd name="connsiteY7" fmla="*/ 6857998 h 6857998"/>
              <a:gd name="connsiteX8" fmla="*/ 0 w 7232375"/>
              <a:gd name="connsiteY8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32375" h="6857998">
                <a:moveTo>
                  <a:pt x="0" y="0"/>
                </a:moveTo>
                <a:lnTo>
                  <a:pt x="2571750" y="0"/>
                </a:lnTo>
                <a:lnTo>
                  <a:pt x="2593182" y="0"/>
                </a:lnTo>
                <a:lnTo>
                  <a:pt x="2928366" y="0"/>
                </a:lnTo>
                <a:lnTo>
                  <a:pt x="2962275" y="0"/>
                </a:lnTo>
                <a:lnTo>
                  <a:pt x="7232375" y="0"/>
                </a:lnTo>
                <a:lnTo>
                  <a:pt x="3272905" y="6857998"/>
                </a:lnTo>
                <a:lnTo>
                  <a:pt x="2962275" y="6857998"/>
                </a:lnTo>
                <a:lnTo>
                  <a:pt x="0" y="68579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7ED8AC-17AB-E7CE-9691-A5135A218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85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390543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1158152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06E8CF-815C-0AB6-4D34-0550581C84C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728804" cy="6857998"/>
          </a:xfrm>
          <a:custGeom>
            <a:avLst/>
            <a:gdLst>
              <a:gd name="connsiteX0" fmla="*/ 0 w 8728804"/>
              <a:gd name="connsiteY0" fmla="*/ 0 h 6857998"/>
              <a:gd name="connsiteX1" fmla="*/ 1496429 w 8728804"/>
              <a:gd name="connsiteY1" fmla="*/ 0 h 6857998"/>
              <a:gd name="connsiteX2" fmla="*/ 2571750 w 8728804"/>
              <a:gd name="connsiteY2" fmla="*/ 0 h 6857998"/>
              <a:gd name="connsiteX3" fmla="*/ 2593182 w 8728804"/>
              <a:gd name="connsiteY3" fmla="*/ 0 h 6857998"/>
              <a:gd name="connsiteX4" fmla="*/ 2928366 w 8728804"/>
              <a:gd name="connsiteY4" fmla="*/ 0 h 6857998"/>
              <a:gd name="connsiteX5" fmla="*/ 2962275 w 8728804"/>
              <a:gd name="connsiteY5" fmla="*/ 0 h 6857998"/>
              <a:gd name="connsiteX6" fmla="*/ 4068179 w 8728804"/>
              <a:gd name="connsiteY6" fmla="*/ 0 h 6857998"/>
              <a:gd name="connsiteX7" fmla="*/ 4089611 w 8728804"/>
              <a:gd name="connsiteY7" fmla="*/ 0 h 6857998"/>
              <a:gd name="connsiteX8" fmla="*/ 4424795 w 8728804"/>
              <a:gd name="connsiteY8" fmla="*/ 0 h 6857998"/>
              <a:gd name="connsiteX9" fmla="*/ 4458704 w 8728804"/>
              <a:gd name="connsiteY9" fmla="*/ 0 h 6857998"/>
              <a:gd name="connsiteX10" fmla="*/ 7232375 w 8728804"/>
              <a:gd name="connsiteY10" fmla="*/ 0 h 6857998"/>
              <a:gd name="connsiteX11" fmla="*/ 8728804 w 8728804"/>
              <a:gd name="connsiteY11" fmla="*/ 0 h 6857998"/>
              <a:gd name="connsiteX12" fmla="*/ 4769334 w 8728804"/>
              <a:gd name="connsiteY12" fmla="*/ 6857998 h 6857998"/>
              <a:gd name="connsiteX13" fmla="*/ 4458704 w 8728804"/>
              <a:gd name="connsiteY13" fmla="*/ 6857998 h 6857998"/>
              <a:gd name="connsiteX14" fmla="*/ 3272905 w 8728804"/>
              <a:gd name="connsiteY14" fmla="*/ 6857998 h 6857998"/>
              <a:gd name="connsiteX15" fmla="*/ 2962275 w 8728804"/>
              <a:gd name="connsiteY15" fmla="*/ 6857998 h 6857998"/>
              <a:gd name="connsiteX16" fmla="*/ 1496429 w 8728804"/>
              <a:gd name="connsiteY16" fmla="*/ 6857998 h 6857998"/>
              <a:gd name="connsiteX17" fmla="*/ 0 w 8728804"/>
              <a:gd name="connsiteY17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728804" h="6857998">
                <a:moveTo>
                  <a:pt x="0" y="0"/>
                </a:moveTo>
                <a:lnTo>
                  <a:pt x="1496429" y="0"/>
                </a:lnTo>
                <a:lnTo>
                  <a:pt x="2571750" y="0"/>
                </a:lnTo>
                <a:lnTo>
                  <a:pt x="2593182" y="0"/>
                </a:lnTo>
                <a:lnTo>
                  <a:pt x="2928366" y="0"/>
                </a:lnTo>
                <a:lnTo>
                  <a:pt x="2962275" y="0"/>
                </a:lnTo>
                <a:lnTo>
                  <a:pt x="4068179" y="0"/>
                </a:lnTo>
                <a:lnTo>
                  <a:pt x="4089611" y="0"/>
                </a:lnTo>
                <a:lnTo>
                  <a:pt x="4424795" y="0"/>
                </a:lnTo>
                <a:lnTo>
                  <a:pt x="4458704" y="0"/>
                </a:lnTo>
                <a:lnTo>
                  <a:pt x="7232375" y="0"/>
                </a:lnTo>
                <a:lnTo>
                  <a:pt x="8728804" y="0"/>
                </a:lnTo>
                <a:lnTo>
                  <a:pt x="4769334" y="6857998"/>
                </a:lnTo>
                <a:lnTo>
                  <a:pt x="4458704" y="6857998"/>
                </a:lnTo>
                <a:lnTo>
                  <a:pt x="3272905" y="6857998"/>
                </a:lnTo>
                <a:lnTo>
                  <a:pt x="2962275" y="6857998"/>
                </a:lnTo>
                <a:lnTo>
                  <a:pt x="1496429" y="6857998"/>
                </a:lnTo>
                <a:lnTo>
                  <a:pt x="0" y="68579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7ED8AC-17AB-E7CE-9691-A5135A218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85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7ED8AC-17AB-E7CE-9691-A5135A218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7832944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18A5C59-CF3F-6352-42F3-9A08F778A4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89807 h 3429000"/>
              <a:gd name="connsiteX3" fmla="*/ 10303152 w 12192000"/>
              <a:gd name="connsiteY3" fmla="*/ 3429000 h 3429000"/>
              <a:gd name="connsiteX4" fmla="*/ 0 w 12192000"/>
              <a:gd name="connsiteY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89807"/>
                </a:lnTo>
                <a:lnTo>
                  <a:pt x="10303152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3ED610-EA08-A257-8025-747AB58250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7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3ED610-EA08-A257-8025-747AB5825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66050547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6D285F-A7F9-3BC2-FA49-73EBFE2907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5054600"/>
            <a:ext cx="12052301" cy="1803400"/>
          </a:xfrm>
          <a:custGeom>
            <a:avLst/>
            <a:gdLst>
              <a:gd name="connsiteX0" fmla="*/ 0 w 12052301"/>
              <a:gd name="connsiteY0" fmla="*/ 0 h 1803400"/>
              <a:gd name="connsiteX1" fmla="*/ 12052301 w 12052301"/>
              <a:gd name="connsiteY1" fmla="*/ 0 h 1803400"/>
              <a:gd name="connsiteX2" fmla="*/ 11032190 w 12052301"/>
              <a:gd name="connsiteY2" fmla="*/ 1803400 h 1803400"/>
              <a:gd name="connsiteX3" fmla="*/ 0 w 12052301"/>
              <a:gd name="connsiteY3" fmla="*/ 1803400 h 180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52301" h="1803400">
                <a:moveTo>
                  <a:pt x="0" y="0"/>
                </a:moveTo>
                <a:lnTo>
                  <a:pt x="12052301" y="0"/>
                </a:lnTo>
                <a:lnTo>
                  <a:pt x="11032190" y="1803400"/>
                </a:lnTo>
                <a:lnTo>
                  <a:pt x="0" y="18034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8FD38A-8279-64CA-29FA-7FB2E08813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72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8FD38A-8279-64CA-29FA-7FB2E0881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4601090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B7F8D64-BB29-0BAB-5BF0-A1CC673DF6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489077"/>
            <a:ext cx="7546975" cy="5368925"/>
          </a:xfrm>
          <a:custGeom>
            <a:avLst/>
            <a:gdLst>
              <a:gd name="connsiteX0" fmla="*/ 0 w 7546975"/>
              <a:gd name="connsiteY0" fmla="*/ 0 h 5368925"/>
              <a:gd name="connsiteX1" fmla="*/ 7546975 w 7546975"/>
              <a:gd name="connsiteY1" fmla="*/ 0 h 5368925"/>
              <a:gd name="connsiteX2" fmla="*/ 4509989 w 7546975"/>
              <a:gd name="connsiteY2" fmla="*/ 5368925 h 5368925"/>
              <a:gd name="connsiteX3" fmla="*/ 0 w 7546975"/>
              <a:gd name="connsiteY3" fmla="*/ 5368925 h 536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46975" h="5368925">
                <a:moveTo>
                  <a:pt x="0" y="0"/>
                </a:moveTo>
                <a:lnTo>
                  <a:pt x="7546975" y="0"/>
                </a:lnTo>
                <a:lnTo>
                  <a:pt x="4509989" y="5368925"/>
                </a:lnTo>
                <a:lnTo>
                  <a:pt x="0" y="536892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BC592E-6644-512E-A228-A96247133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29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BC592E-6644-512E-A228-A96247133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699077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67F5D44-4241-E0DC-450B-116EC15A04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4660625" cy="6858000"/>
          </a:xfrm>
          <a:custGeom>
            <a:avLst/>
            <a:gdLst>
              <a:gd name="connsiteX0" fmla="*/ 0 w 4660625"/>
              <a:gd name="connsiteY0" fmla="*/ 0 h 6858000"/>
              <a:gd name="connsiteX1" fmla="*/ 21432 w 4660625"/>
              <a:gd name="connsiteY1" fmla="*/ 0 h 6858000"/>
              <a:gd name="connsiteX2" fmla="*/ 356616 w 4660625"/>
              <a:gd name="connsiteY2" fmla="*/ 0 h 6858000"/>
              <a:gd name="connsiteX3" fmla="*/ 4660625 w 4660625"/>
              <a:gd name="connsiteY3" fmla="*/ 0 h 6858000"/>
              <a:gd name="connsiteX4" fmla="*/ 701155 w 4660625"/>
              <a:gd name="connsiteY4" fmla="*/ 6857998 h 6858000"/>
              <a:gd name="connsiteX5" fmla="*/ 356616 w 4660625"/>
              <a:gd name="connsiteY5" fmla="*/ 6857998 h 6858000"/>
              <a:gd name="connsiteX6" fmla="*/ 356616 w 4660625"/>
              <a:gd name="connsiteY6" fmla="*/ 6858000 h 6858000"/>
              <a:gd name="connsiteX7" fmla="*/ 0 w 466062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60625" h="6858000">
                <a:moveTo>
                  <a:pt x="0" y="0"/>
                </a:moveTo>
                <a:lnTo>
                  <a:pt x="21432" y="0"/>
                </a:lnTo>
                <a:lnTo>
                  <a:pt x="356616" y="0"/>
                </a:lnTo>
                <a:lnTo>
                  <a:pt x="4660625" y="0"/>
                </a:lnTo>
                <a:lnTo>
                  <a:pt x="701155" y="6857998"/>
                </a:lnTo>
                <a:lnTo>
                  <a:pt x="356616" y="6857998"/>
                </a:lnTo>
                <a:lnTo>
                  <a:pt x="3566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E2E82A-E01B-4BAC-1A84-3D859390F9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1800" y="1489076"/>
            <a:ext cx="7947096" cy="4654544"/>
          </a:xfrm>
          <a:custGeom>
            <a:avLst/>
            <a:gdLst>
              <a:gd name="connsiteX0" fmla="*/ 2632889 w 7947096"/>
              <a:gd name="connsiteY0" fmla="*/ 0 h 4654544"/>
              <a:gd name="connsiteX1" fmla="*/ 7947096 w 7947096"/>
              <a:gd name="connsiteY1" fmla="*/ 0 h 4654544"/>
              <a:gd name="connsiteX2" fmla="*/ 5314207 w 7947096"/>
              <a:gd name="connsiteY2" fmla="*/ 4654544 h 4654544"/>
              <a:gd name="connsiteX3" fmla="*/ 0 w 7947096"/>
              <a:gd name="connsiteY3" fmla="*/ 4654544 h 4654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47096" h="4654544">
                <a:moveTo>
                  <a:pt x="2632889" y="0"/>
                </a:moveTo>
                <a:lnTo>
                  <a:pt x="7947096" y="0"/>
                </a:lnTo>
                <a:lnTo>
                  <a:pt x="5314207" y="4654544"/>
                </a:lnTo>
                <a:lnTo>
                  <a:pt x="0" y="4654544"/>
                </a:lnTo>
                <a:close/>
              </a:path>
            </a:pathLst>
          </a:custGeom>
          <a:noFill/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800"/>
            </a:lvl1pPr>
          </a:lstStyle>
          <a:p>
            <a:pPr marL="0" lvl="0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BEA8A6-1781-F13E-6034-090E16FC3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298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EA8A6-1781-F13E-6034-090E16FC3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32494021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92D5435-71D7-F5BF-CD91-DB686A4A67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712071" cy="6858001"/>
          </a:xfrm>
          <a:custGeom>
            <a:avLst/>
            <a:gdLst>
              <a:gd name="connsiteX0" fmla="*/ 0 w 9712071"/>
              <a:gd name="connsiteY0" fmla="*/ 0 h 6858001"/>
              <a:gd name="connsiteX1" fmla="*/ 5543550 w 9712071"/>
              <a:gd name="connsiteY1" fmla="*/ 0 h 6858001"/>
              <a:gd name="connsiteX2" fmla="*/ 5543550 w 9712071"/>
              <a:gd name="connsiteY2" fmla="*/ 1 h 6858001"/>
              <a:gd name="connsiteX3" fmla="*/ 6813542 w 9712071"/>
              <a:gd name="connsiteY3" fmla="*/ 1 h 6858001"/>
              <a:gd name="connsiteX4" fmla="*/ 9712071 w 9712071"/>
              <a:gd name="connsiteY4" fmla="*/ 1 h 6858001"/>
              <a:gd name="connsiteX5" fmla="*/ 5752600 w 9712071"/>
              <a:gd name="connsiteY5" fmla="*/ 6858001 h 6858001"/>
              <a:gd name="connsiteX6" fmla="*/ 2854071 w 9712071"/>
              <a:gd name="connsiteY6" fmla="*/ 6858001 h 6858001"/>
              <a:gd name="connsiteX7" fmla="*/ 2854081 w 9712071"/>
              <a:gd name="connsiteY7" fmla="*/ 6857983 h 6858001"/>
              <a:gd name="connsiteX8" fmla="*/ 0 w 9712071"/>
              <a:gd name="connsiteY8" fmla="*/ 685798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12071" h="6858001">
                <a:moveTo>
                  <a:pt x="0" y="0"/>
                </a:moveTo>
                <a:lnTo>
                  <a:pt x="5543550" y="0"/>
                </a:lnTo>
                <a:lnTo>
                  <a:pt x="5543550" y="1"/>
                </a:lnTo>
                <a:lnTo>
                  <a:pt x="6813542" y="1"/>
                </a:lnTo>
                <a:lnTo>
                  <a:pt x="9712071" y="1"/>
                </a:lnTo>
                <a:lnTo>
                  <a:pt x="5752600" y="6858001"/>
                </a:lnTo>
                <a:lnTo>
                  <a:pt x="2854071" y="6858001"/>
                </a:lnTo>
                <a:lnTo>
                  <a:pt x="2854081" y="6857983"/>
                </a:lnTo>
                <a:lnTo>
                  <a:pt x="0" y="685798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0E45F7-7850-B2BC-91A5-513189FAB0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833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0E45F7-7850-B2BC-91A5-513189FAB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3019993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4242D46-DD19-AD1A-88B2-8E4D7BA478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1821373"/>
          </a:xfrm>
          <a:custGeom>
            <a:avLst/>
            <a:gdLst>
              <a:gd name="connsiteX0" fmla="*/ 0 w 12192000"/>
              <a:gd name="connsiteY0" fmla="*/ 0 h 1821373"/>
              <a:gd name="connsiteX1" fmla="*/ 12192000 w 12192000"/>
              <a:gd name="connsiteY1" fmla="*/ 0 h 1821373"/>
              <a:gd name="connsiteX2" fmla="*/ 12192000 w 12192000"/>
              <a:gd name="connsiteY2" fmla="*/ 737356 h 1821373"/>
              <a:gd name="connsiteX3" fmla="*/ 11578815 w 12192000"/>
              <a:gd name="connsiteY3" fmla="*/ 1821373 h 1821373"/>
              <a:gd name="connsiteX4" fmla="*/ 0 w 12192000"/>
              <a:gd name="connsiteY4" fmla="*/ 1821373 h 1821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1821373">
                <a:moveTo>
                  <a:pt x="0" y="0"/>
                </a:moveTo>
                <a:lnTo>
                  <a:pt x="12192000" y="0"/>
                </a:lnTo>
                <a:lnTo>
                  <a:pt x="12192000" y="737356"/>
                </a:lnTo>
                <a:lnTo>
                  <a:pt x="11578815" y="1821373"/>
                </a:lnTo>
                <a:lnTo>
                  <a:pt x="0" y="182137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42ED9B9-FE09-6E6D-4BE3-938ACCB4BD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215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2ED9B9-FE09-6E6D-4BE3-938ACCB4BD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2848021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MASTER SLIDE - 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3773978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2D46B078-CEFE-09BD-85FE-560ABB3E8AE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361506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9" imgH="478" progId="TCLayout.ActiveDocument.1">
                  <p:embed/>
                </p:oleObj>
              </mc:Choice>
              <mc:Fallback>
                <p:oleObj name="think-cell Slide" r:id="rId3" imgW="479" imgH="478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2D46B078-CEFE-09BD-85FE-560ABB3E8AE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21075D5-1056-64AB-E084-7CC4B975744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47EC40C2-BF32-4D82-A80D-6D29D76EE066}" type="slidenum">
              <a:rPr lang="en-GB" smtClean="0"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391706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73AE5E90-E524-E3F3-CCA9-5FDE6EB2C6A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5532120" cy="6858000"/>
          </a:xfrm>
          <a:custGeom>
            <a:avLst/>
            <a:gdLst>
              <a:gd name="connsiteX0" fmla="*/ 0 w 5532120"/>
              <a:gd name="connsiteY0" fmla="*/ 0 h 6858000"/>
              <a:gd name="connsiteX1" fmla="*/ 5532120 w 5532120"/>
              <a:gd name="connsiteY1" fmla="*/ 0 h 6858000"/>
              <a:gd name="connsiteX2" fmla="*/ 5532120 w 5532120"/>
              <a:gd name="connsiteY2" fmla="*/ 6858000 h 6858000"/>
              <a:gd name="connsiteX3" fmla="*/ 0 w 553212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532120" h="6858000">
                <a:moveTo>
                  <a:pt x="0" y="0"/>
                </a:moveTo>
                <a:lnTo>
                  <a:pt x="5532120" y="0"/>
                </a:lnTo>
                <a:lnTo>
                  <a:pt x="5532120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95C95725-9481-FF46-F27D-0C434F0B095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420898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5C95725-9481-FF46-F27D-0C434F0B095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9679954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3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4" name="Media Placeholder 3">
            <a:extLst>
              <a:ext uri="{FF2B5EF4-FFF2-40B4-BE49-F238E27FC236}">
                <a16:creationId xmlns:a16="http://schemas.microsoft.com/office/drawing/2014/main" id="{2DF117E6-43E8-154D-8E0B-E4E4B3089F52}"/>
              </a:ext>
            </a:extLst>
          </p:cNvPr>
          <p:cNvSpPr>
            <a:spLocks noGrp="1"/>
          </p:cNvSpPr>
          <p:nvPr>
            <p:ph type="media" sz="quarter" idx="10"/>
          </p:nvPr>
        </p:nvSpPr>
        <p:spPr>
          <a:xfrm>
            <a:off x="0" y="0"/>
            <a:ext cx="12192000" cy="6858000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2268130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8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2F5BA94-E282-EC3E-ED53-FCB8A50882C2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489077"/>
            <a:ext cx="6542792" cy="4654548"/>
          </a:xfrm>
          <a:custGeom>
            <a:avLst/>
            <a:gdLst>
              <a:gd name="connsiteX0" fmla="*/ 0 w 6542792"/>
              <a:gd name="connsiteY0" fmla="*/ 0 h 4654548"/>
              <a:gd name="connsiteX1" fmla="*/ 6542792 w 6542792"/>
              <a:gd name="connsiteY1" fmla="*/ 0 h 4654548"/>
              <a:gd name="connsiteX2" fmla="*/ 3909900 w 6542792"/>
              <a:gd name="connsiteY2" fmla="*/ 4654548 h 4654548"/>
              <a:gd name="connsiteX3" fmla="*/ 0 w 6542792"/>
              <a:gd name="connsiteY3" fmla="*/ 4654548 h 465454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42792" h="4654548">
                <a:moveTo>
                  <a:pt x="0" y="0"/>
                </a:moveTo>
                <a:lnTo>
                  <a:pt x="6542792" y="0"/>
                </a:lnTo>
                <a:lnTo>
                  <a:pt x="3909900" y="4654548"/>
                </a:lnTo>
                <a:lnTo>
                  <a:pt x="0" y="465454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F31AF51-C927-9E91-D65C-E818F0BE63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760466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F31AF51-C927-9E91-D65C-E818F0BE63F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00896150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FDD709-1F37-5001-F32D-2C535C16ADD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2" y="0"/>
            <a:ext cx="7232375" cy="6857998"/>
          </a:xfrm>
          <a:custGeom>
            <a:avLst/>
            <a:gdLst>
              <a:gd name="connsiteX0" fmla="*/ 0 w 7232375"/>
              <a:gd name="connsiteY0" fmla="*/ 0 h 6857998"/>
              <a:gd name="connsiteX1" fmla="*/ 2571750 w 7232375"/>
              <a:gd name="connsiteY1" fmla="*/ 0 h 6857998"/>
              <a:gd name="connsiteX2" fmla="*/ 2593182 w 7232375"/>
              <a:gd name="connsiteY2" fmla="*/ 0 h 6857998"/>
              <a:gd name="connsiteX3" fmla="*/ 2928366 w 7232375"/>
              <a:gd name="connsiteY3" fmla="*/ 0 h 6857998"/>
              <a:gd name="connsiteX4" fmla="*/ 2962275 w 7232375"/>
              <a:gd name="connsiteY4" fmla="*/ 0 h 6857998"/>
              <a:gd name="connsiteX5" fmla="*/ 7232375 w 7232375"/>
              <a:gd name="connsiteY5" fmla="*/ 0 h 6857998"/>
              <a:gd name="connsiteX6" fmla="*/ 3272905 w 7232375"/>
              <a:gd name="connsiteY6" fmla="*/ 6857998 h 6857998"/>
              <a:gd name="connsiteX7" fmla="*/ 2962275 w 7232375"/>
              <a:gd name="connsiteY7" fmla="*/ 6857998 h 6857998"/>
              <a:gd name="connsiteX8" fmla="*/ 0 w 7232375"/>
              <a:gd name="connsiteY8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7232375" h="6857998">
                <a:moveTo>
                  <a:pt x="0" y="0"/>
                </a:moveTo>
                <a:lnTo>
                  <a:pt x="2571750" y="0"/>
                </a:lnTo>
                <a:lnTo>
                  <a:pt x="2593182" y="0"/>
                </a:lnTo>
                <a:lnTo>
                  <a:pt x="2928366" y="0"/>
                </a:lnTo>
                <a:lnTo>
                  <a:pt x="2962275" y="0"/>
                </a:lnTo>
                <a:lnTo>
                  <a:pt x="7232375" y="0"/>
                </a:lnTo>
                <a:lnTo>
                  <a:pt x="3272905" y="6857998"/>
                </a:lnTo>
                <a:lnTo>
                  <a:pt x="2962275" y="6857998"/>
                </a:lnTo>
                <a:lnTo>
                  <a:pt x="0" y="68579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7ED8AC-17AB-E7CE-9691-A5135A218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85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7ED8AC-17AB-E7CE-9691-A5135A218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13726990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0A06E8CF-815C-0AB6-4D34-0550581C84C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8728804" cy="6857998"/>
          </a:xfrm>
          <a:custGeom>
            <a:avLst/>
            <a:gdLst>
              <a:gd name="connsiteX0" fmla="*/ 0 w 8728804"/>
              <a:gd name="connsiteY0" fmla="*/ 0 h 6857998"/>
              <a:gd name="connsiteX1" fmla="*/ 1496429 w 8728804"/>
              <a:gd name="connsiteY1" fmla="*/ 0 h 6857998"/>
              <a:gd name="connsiteX2" fmla="*/ 2571750 w 8728804"/>
              <a:gd name="connsiteY2" fmla="*/ 0 h 6857998"/>
              <a:gd name="connsiteX3" fmla="*/ 2593182 w 8728804"/>
              <a:gd name="connsiteY3" fmla="*/ 0 h 6857998"/>
              <a:gd name="connsiteX4" fmla="*/ 2928366 w 8728804"/>
              <a:gd name="connsiteY4" fmla="*/ 0 h 6857998"/>
              <a:gd name="connsiteX5" fmla="*/ 2962275 w 8728804"/>
              <a:gd name="connsiteY5" fmla="*/ 0 h 6857998"/>
              <a:gd name="connsiteX6" fmla="*/ 4068179 w 8728804"/>
              <a:gd name="connsiteY6" fmla="*/ 0 h 6857998"/>
              <a:gd name="connsiteX7" fmla="*/ 4089611 w 8728804"/>
              <a:gd name="connsiteY7" fmla="*/ 0 h 6857998"/>
              <a:gd name="connsiteX8" fmla="*/ 4424795 w 8728804"/>
              <a:gd name="connsiteY8" fmla="*/ 0 h 6857998"/>
              <a:gd name="connsiteX9" fmla="*/ 4458704 w 8728804"/>
              <a:gd name="connsiteY9" fmla="*/ 0 h 6857998"/>
              <a:gd name="connsiteX10" fmla="*/ 7232375 w 8728804"/>
              <a:gd name="connsiteY10" fmla="*/ 0 h 6857998"/>
              <a:gd name="connsiteX11" fmla="*/ 8728804 w 8728804"/>
              <a:gd name="connsiteY11" fmla="*/ 0 h 6857998"/>
              <a:gd name="connsiteX12" fmla="*/ 4769334 w 8728804"/>
              <a:gd name="connsiteY12" fmla="*/ 6857998 h 6857998"/>
              <a:gd name="connsiteX13" fmla="*/ 4458704 w 8728804"/>
              <a:gd name="connsiteY13" fmla="*/ 6857998 h 6857998"/>
              <a:gd name="connsiteX14" fmla="*/ 3272905 w 8728804"/>
              <a:gd name="connsiteY14" fmla="*/ 6857998 h 6857998"/>
              <a:gd name="connsiteX15" fmla="*/ 2962275 w 8728804"/>
              <a:gd name="connsiteY15" fmla="*/ 6857998 h 6857998"/>
              <a:gd name="connsiteX16" fmla="*/ 1496429 w 8728804"/>
              <a:gd name="connsiteY16" fmla="*/ 6857998 h 6857998"/>
              <a:gd name="connsiteX17" fmla="*/ 0 w 8728804"/>
              <a:gd name="connsiteY17" fmla="*/ 6857998 h 68579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</a:cxnLst>
            <a:rect l="l" t="t" r="r" b="b"/>
            <a:pathLst>
              <a:path w="8728804" h="6857998">
                <a:moveTo>
                  <a:pt x="0" y="0"/>
                </a:moveTo>
                <a:lnTo>
                  <a:pt x="1496429" y="0"/>
                </a:lnTo>
                <a:lnTo>
                  <a:pt x="2571750" y="0"/>
                </a:lnTo>
                <a:lnTo>
                  <a:pt x="2593182" y="0"/>
                </a:lnTo>
                <a:lnTo>
                  <a:pt x="2928366" y="0"/>
                </a:lnTo>
                <a:lnTo>
                  <a:pt x="2962275" y="0"/>
                </a:lnTo>
                <a:lnTo>
                  <a:pt x="4068179" y="0"/>
                </a:lnTo>
                <a:lnTo>
                  <a:pt x="4089611" y="0"/>
                </a:lnTo>
                <a:lnTo>
                  <a:pt x="4424795" y="0"/>
                </a:lnTo>
                <a:lnTo>
                  <a:pt x="4458704" y="0"/>
                </a:lnTo>
                <a:lnTo>
                  <a:pt x="7232375" y="0"/>
                </a:lnTo>
                <a:lnTo>
                  <a:pt x="8728804" y="0"/>
                </a:lnTo>
                <a:lnTo>
                  <a:pt x="4769334" y="6857998"/>
                </a:lnTo>
                <a:lnTo>
                  <a:pt x="4458704" y="6857998"/>
                </a:lnTo>
                <a:lnTo>
                  <a:pt x="3272905" y="6857998"/>
                </a:lnTo>
                <a:lnTo>
                  <a:pt x="2962275" y="6857998"/>
                </a:lnTo>
                <a:lnTo>
                  <a:pt x="1496429" y="6857998"/>
                </a:lnTo>
                <a:lnTo>
                  <a:pt x="0" y="6857998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C7ED8AC-17AB-E7CE-9691-A5135A218A5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678509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C7ED8AC-17AB-E7CE-9691-A5135A218A5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6815134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118A5C59-CF3F-6352-42F3-9A08F778A45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3429000"/>
          </a:xfrm>
          <a:custGeom>
            <a:avLst/>
            <a:gdLst>
              <a:gd name="connsiteX0" fmla="*/ 0 w 12192000"/>
              <a:gd name="connsiteY0" fmla="*/ 0 h 3429000"/>
              <a:gd name="connsiteX1" fmla="*/ 12192000 w 12192000"/>
              <a:gd name="connsiteY1" fmla="*/ 0 h 3429000"/>
              <a:gd name="connsiteX2" fmla="*/ 12192000 w 12192000"/>
              <a:gd name="connsiteY2" fmla="*/ 89807 h 3429000"/>
              <a:gd name="connsiteX3" fmla="*/ 10303152 w 12192000"/>
              <a:gd name="connsiteY3" fmla="*/ 3429000 h 3429000"/>
              <a:gd name="connsiteX4" fmla="*/ 0 w 12192000"/>
              <a:gd name="connsiteY4" fmla="*/ 3429000 h 342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3429000">
                <a:moveTo>
                  <a:pt x="0" y="0"/>
                </a:moveTo>
                <a:lnTo>
                  <a:pt x="12192000" y="0"/>
                </a:lnTo>
                <a:lnTo>
                  <a:pt x="12192000" y="89807"/>
                </a:lnTo>
                <a:lnTo>
                  <a:pt x="10303152" y="3429000"/>
                </a:lnTo>
                <a:lnTo>
                  <a:pt x="0" y="3429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0D3ED610-EA08-A257-8025-747AB58250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00719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D3ED610-EA08-A257-8025-747AB58250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84963092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26D285F-A7F9-3BC2-FA49-73EBFE29079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5054600"/>
            <a:ext cx="12052301" cy="1803400"/>
          </a:xfrm>
          <a:custGeom>
            <a:avLst/>
            <a:gdLst>
              <a:gd name="connsiteX0" fmla="*/ 0 w 12052301"/>
              <a:gd name="connsiteY0" fmla="*/ 0 h 1803400"/>
              <a:gd name="connsiteX1" fmla="*/ 12052301 w 12052301"/>
              <a:gd name="connsiteY1" fmla="*/ 0 h 1803400"/>
              <a:gd name="connsiteX2" fmla="*/ 11032190 w 12052301"/>
              <a:gd name="connsiteY2" fmla="*/ 1803400 h 1803400"/>
              <a:gd name="connsiteX3" fmla="*/ 0 w 12052301"/>
              <a:gd name="connsiteY3" fmla="*/ 1803400 h 1803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052301" h="1803400">
                <a:moveTo>
                  <a:pt x="0" y="0"/>
                </a:moveTo>
                <a:lnTo>
                  <a:pt x="12052301" y="0"/>
                </a:lnTo>
                <a:lnTo>
                  <a:pt x="11032190" y="1803400"/>
                </a:lnTo>
                <a:lnTo>
                  <a:pt x="0" y="18034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D8FD38A-8279-64CA-29FA-7FB2E08813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51722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D8FD38A-8279-64CA-29FA-7FB2E08813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190751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B7F8D64-BB29-0BAB-5BF0-A1CC673DF66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489077"/>
            <a:ext cx="7546975" cy="5368925"/>
          </a:xfrm>
          <a:custGeom>
            <a:avLst/>
            <a:gdLst>
              <a:gd name="connsiteX0" fmla="*/ 0 w 7546975"/>
              <a:gd name="connsiteY0" fmla="*/ 0 h 5368925"/>
              <a:gd name="connsiteX1" fmla="*/ 7546975 w 7546975"/>
              <a:gd name="connsiteY1" fmla="*/ 0 h 5368925"/>
              <a:gd name="connsiteX2" fmla="*/ 4509989 w 7546975"/>
              <a:gd name="connsiteY2" fmla="*/ 5368925 h 5368925"/>
              <a:gd name="connsiteX3" fmla="*/ 0 w 7546975"/>
              <a:gd name="connsiteY3" fmla="*/ 5368925 h 5368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46975" h="5368925">
                <a:moveTo>
                  <a:pt x="0" y="0"/>
                </a:moveTo>
                <a:lnTo>
                  <a:pt x="7546975" y="0"/>
                </a:lnTo>
                <a:lnTo>
                  <a:pt x="4509989" y="5368925"/>
                </a:lnTo>
                <a:lnTo>
                  <a:pt x="0" y="5368925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68BC592E-6644-512E-A228-A96247133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38297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8BC592E-6644-512E-A228-A96247133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5141629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167F5D44-4241-E0DC-450B-116EC15A04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1" y="0"/>
            <a:ext cx="4660625" cy="6858000"/>
          </a:xfrm>
          <a:custGeom>
            <a:avLst/>
            <a:gdLst>
              <a:gd name="connsiteX0" fmla="*/ 0 w 4660625"/>
              <a:gd name="connsiteY0" fmla="*/ 0 h 6858000"/>
              <a:gd name="connsiteX1" fmla="*/ 21432 w 4660625"/>
              <a:gd name="connsiteY1" fmla="*/ 0 h 6858000"/>
              <a:gd name="connsiteX2" fmla="*/ 356616 w 4660625"/>
              <a:gd name="connsiteY2" fmla="*/ 0 h 6858000"/>
              <a:gd name="connsiteX3" fmla="*/ 4660625 w 4660625"/>
              <a:gd name="connsiteY3" fmla="*/ 0 h 6858000"/>
              <a:gd name="connsiteX4" fmla="*/ 701155 w 4660625"/>
              <a:gd name="connsiteY4" fmla="*/ 6857998 h 6858000"/>
              <a:gd name="connsiteX5" fmla="*/ 356616 w 4660625"/>
              <a:gd name="connsiteY5" fmla="*/ 6857998 h 6858000"/>
              <a:gd name="connsiteX6" fmla="*/ 356616 w 4660625"/>
              <a:gd name="connsiteY6" fmla="*/ 6858000 h 6858000"/>
              <a:gd name="connsiteX7" fmla="*/ 0 w 4660625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660625" h="6858000">
                <a:moveTo>
                  <a:pt x="0" y="0"/>
                </a:moveTo>
                <a:lnTo>
                  <a:pt x="21432" y="0"/>
                </a:lnTo>
                <a:lnTo>
                  <a:pt x="356616" y="0"/>
                </a:lnTo>
                <a:lnTo>
                  <a:pt x="4660625" y="0"/>
                </a:lnTo>
                <a:lnTo>
                  <a:pt x="701155" y="6857998"/>
                </a:lnTo>
                <a:lnTo>
                  <a:pt x="356616" y="6857998"/>
                </a:lnTo>
                <a:lnTo>
                  <a:pt x="356616" y="6858000"/>
                </a:lnTo>
                <a:lnTo>
                  <a:pt x="0" y="6858000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40E2E82A-E01B-4BAC-1A84-3D859390F9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31800" y="1489076"/>
            <a:ext cx="7947096" cy="4654544"/>
          </a:xfrm>
          <a:custGeom>
            <a:avLst/>
            <a:gdLst>
              <a:gd name="connsiteX0" fmla="*/ 2632889 w 7947096"/>
              <a:gd name="connsiteY0" fmla="*/ 0 h 4654544"/>
              <a:gd name="connsiteX1" fmla="*/ 7947096 w 7947096"/>
              <a:gd name="connsiteY1" fmla="*/ 0 h 4654544"/>
              <a:gd name="connsiteX2" fmla="*/ 5314207 w 7947096"/>
              <a:gd name="connsiteY2" fmla="*/ 4654544 h 4654544"/>
              <a:gd name="connsiteX3" fmla="*/ 0 w 7947096"/>
              <a:gd name="connsiteY3" fmla="*/ 4654544 h 46545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947096" h="4654544">
                <a:moveTo>
                  <a:pt x="2632889" y="0"/>
                </a:moveTo>
                <a:lnTo>
                  <a:pt x="7947096" y="0"/>
                </a:lnTo>
                <a:lnTo>
                  <a:pt x="5314207" y="4654544"/>
                </a:lnTo>
                <a:lnTo>
                  <a:pt x="0" y="4654544"/>
                </a:lnTo>
                <a:close/>
              </a:path>
            </a:pathLst>
          </a:custGeom>
          <a:noFill/>
          <a:ln w="12700" cap="flat">
            <a:noFill/>
            <a:prstDash val="solid"/>
            <a:miter/>
          </a:ln>
          <a:effectLst>
            <a:outerShdw blurRad="444500" dist="190500" dir="5400000" algn="t" rotWithShape="0">
              <a:prstClr val="black">
                <a:alpha val="10000"/>
              </a:prstClr>
            </a:outerShdw>
          </a:effectLst>
        </p:spPr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>
            <a:lvl1pPr>
              <a:defRPr lang="en-US" sz="1800"/>
            </a:lvl1pPr>
          </a:lstStyle>
          <a:p>
            <a:pPr marL="0" lvl="0"/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73BEA8A6-1781-F13E-6034-090E16FC31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2980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3BEA8A6-1781-F13E-6034-090E16FC31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35470922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92D5435-71D7-F5BF-CD91-DB686A4A670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"/>
            <a:ext cx="9712071" cy="6858001"/>
          </a:xfrm>
          <a:custGeom>
            <a:avLst/>
            <a:gdLst>
              <a:gd name="connsiteX0" fmla="*/ 0 w 9712071"/>
              <a:gd name="connsiteY0" fmla="*/ 0 h 6858001"/>
              <a:gd name="connsiteX1" fmla="*/ 5543550 w 9712071"/>
              <a:gd name="connsiteY1" fmla="*/ 0 h 6858001"/>
              <a:gd name="connsiteX2" fmla="*/ 5543550 w 9712071"/>
              <a:gd name="connsiteY2" fmla="*/ 1 h 6858001"/>
              <a:gd name="connsiteX3" fmla="*/ 6813542 w 9712071"/>
              <a:gd name="connsiteY3" fmla="*/ 1 h 6858001"/>
              <a:gd name="connsiteX4" fmla="*/ 9712071 w 9712071"/>
              <a:gd name="connsiteY4" fmla="*/ 1 h 6858001"/>
              <a:gd name="connsiteX5" fmla="*/ 5752600 w 9712071"/>
              <a:gd name="connsiteY5" fmla="*/ 6858001 h 6858001"/>
              <a:gd name="connsiteX6" fmla="*/ 2854071 w 9712071"/>
              <a:gd name="connsiteY6" fmla="*/ 6858001 h 6858001"/>
              <a:gd name="connsiteX7" fmla="*/ 2854081 w 9712071"/>
              <a:gd name="connsiteY7" fmla="*/ 6857983 h 6858001"/>
              <a:gd name="connsiteX8" fmla="*/ 0 w 9712071"/>
              <a:gd name="connsiteY8" fmla="*/ 6857983 h 68580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9712071" h="6858001">
                <a:moveTo>
                  <a:pt x="0" y="0"/>
                </a:moveTo>
                <a:lnTo>
                  <a:pt x="5543550" y="0"/>
                </a:lnTo>
                <a:lnTo>
                  <a:pt x="5543550" y="1"/>
                </a:lnTo>
                <a:lnTo>
                  <a:pt x="6813542" y="1"/>
                </a:lnTo>
                <a:lnTo>
                  <a:pt x="9712071" y="1"/>
                </a:lnTo>
                <a:lnTo>
                  <a:pt x="5752600" y="6858001"/>
                </a:lnTo>
                <a:lnTo>
                  <a:pt x="2854071" y="6858001"/>
                </a:lnTo>
                <a:lnTo>
                  <a:pt x="2854081" y="6857983"/>
                </a:lnTo>
                <a:lnTo>
                  <a:pt x="0" y="685798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C90E45F7-7850-B2BC-91A5-513189FAB09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06833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0E45F7-7850-B2BC-91A5-513189FAB09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44932970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4242D46-DD19-AD1A-88B2-8E4D7BA478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1821373"/>
          </a:xfrm>
          <a:custGeom>
            <a:avLst/>
            <a:gdLst>
              <a:gd name="connsiteX0" fmla="*/ 0 w 12192000"/>
              <a:gd name="connsiteY0" fmla="*/ 0 h 1821373"/>
              <a:gd name="connsiteX1" fmla="*/ 12192000 w 12192000"/>
              <a:gd name="connsiteY1" fmla="*/ 0 h 1821373"/>
              <a:gd name="connsiteX2" fmla="*/ 12192000 w 12192000"/>
              <a:gd name="connsiteY2" fmla="*/ 737356 h 1821373"/>
              <a:gd name="connsiteX3" fmla="*/ 11578815 w 12192000"/>
              <a:gd name="connsiteY3" fmla="*/ 1821373 h 1821373"/>
              <a:gd name="connsiteX4" fmla="*/ 0 w 12192000"/>
              <a:gd name="connsiteY4" fmla="*/ 1821373 h 182137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192000" h="1821373">
                <a:moveTo>
                  <a:pt x="0" y="0"/>
                </a:moveTo>
                <a:lnTo>
                  <a:pt x="12192000" y="0"/>
                </a:lnTo>
                <a:lnTo>
                  <a:pt x="12192000" y="737356"/>
                </a:lnTo>
                <a:lnTo>
                  <a:pt x="11578815" y="1821373"/>
                </a:lnTo>
                <a:lnTo>
                  <a:pt x="0" y="1821373"/>
                </a:lnTo>
                <a:close/>
              </a:path>
            </a:pathLst>
          </a:custGeom>
        </p:spPr>
        <p:txBody>
          <a:bodyPr wrap="square">
            <a:noAutofit/>
          </a:bodyPr>
          <a:lstStyle/>
          <a:p>
            <a:endParaRPr lang="en-US"/>
          </a:p>
        </p:txBody>
      </p:sp>
      <p:graphicFrame>
        <p:nvGraphicFramePr>
          <p:cNvPr id="4" name="think-cell data - do not delete" hidden="1">
            <a:extLst>
              <a:ext uri="{FF2B5EF4-FFF2-40B4-BE49-F238E27FC236}">
                <a16:creationId xmlns:a16="http://schemas.microsoft.com/office/drawing/2014/main" id="{A42ED9B9-FE09-6E6D-4BE3-938ACCB4BD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602157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3" progId="TCLayout.ActiveDocument.1">
                  <p:embed/>
                </p:oleObj>
              </mc:Choice>
              <mc:Fallback>
                <p:oleObj name="think-cell Slide" r:id="rId3" imgW="344" imgH="343" progId="TCLayout.ActiveDocument.1">
                  <p:embed/>
                  <p:pic>
                    <p:nvPicPr>
                      <p:cNvPr id="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42ED9B9-FE09-6E6D-4BE3-938ACCB4BD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0181180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0A1CFA8-01F3-7141-8733-9BD22717A16A}"/>
              </a:ext>
            </a:extLst>
          </p:cNvPr>
          <p:cNvSpPr/>
          <p:nvPr userDrawn="1"/>
        </p:nvSpPr>
        <p:spPr bwMode="auto">
          <a:xfrm>
            <a:off x="0" y="0"/>
            <a:ext cx="12192000" cy="912605"/>
          </a:xfrm>
          <a:prstGeom prst="rect">
            <a:avLst/>
          </a:prstGeom>
          <a:solidFill>
            <a:srgbClr val="FFFFF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en-US" sz="3000" b="0" i="0" u="none" strike="noStrike" cap="none" normalizeH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sp>
        <p:nvSpPr>
          <p:cNvPr id="5" name="Text Placeholder 18">
            <a:extLst>
              <a:ext uri="{FF2B5EF4-FFF2-40B4-BE49-F238E27FC236}">
                <a16:creationId xmlns:a16="http://schemas.microsoft.com/office/drawing/2014/main" id="{FCF6221C-0E44-F44E-8595-80D0F82E78C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5" y="4239678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800" b="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6462880A-AC72-9845-9312-842AB25FEBC5}"/>
              </a:ext>
            </a:extLst>
          </p:cNvPr>
          <p:cNvSpPr/>
          <p:nvPr userDrawn="1"/>
        </p:nvSpPr>
        <p:spPr>
          <a:xfrm>
            <a:off x="5370871" y="3962400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DC567EA0-7E42-764C-894D-CB400D26CFA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59527" y="3206478"/>
            <a:ext cx="5672943" cy="535194"/>
          </a:xfrm>
          <a:prstGeom prst="rect">
            <a:avLst/>
          </a:prstGeom>
        </p:spPr>
        <p:txBody>
          <a:bodyPr anchor="t"/>
          <a:lstStyle>
            <a:lvl1pPr marL="0" indent="0" algn="ctr">
              <a:buNone/>
              <a:defRPr sz="2400" b="1">
                <a:solidFill>
                  <a:srgbClr val="082E87"/>
                </a:solidFill>
              </a:defRPr>
            </a:lvl1pPr>
          </a:lstStyle>
          <a:p>
            <a:pPr lvl="0"/>
            <a:r>
              <a:rPr lang="en-US" dirty="0"/>
              <a:t>Insert copy here</a:t>
            </a:r>
          </a:p>
        </p:txBody>
      </p:sp>
      <p:sp>
        <p:nvSpPr>
          <p:cNvPr id="8" name="Text Placeholder 20">
            <a:extLst>
              <a:ext uri="{FF2B5EF4-FFF2-40B4-BE49-F238E27FC236}">
                <a16:creationId xmlns:a16="http://schemas.microsoft.com/office/drawing/2014/main" id="{AB72BEE2-03B4-2545-81E3-ABE63641DB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04800" y="188705"/>
            <a:ext cx="5672943" cy="535194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800" b="1">
                <a:solidFill>
                  <a:srgbClr val="082E87"/>
                </a:solidFill>
              </a:defRPr>
            </a:lvl1pPr>
          </a:lstStyle>
          <a:p>
            <a:pPr lvl="0"/>
            <a:r>
              <a:rPr lang="en-US" dirty="0"/>
              <a:t>Category title</a:t>
            </a:r>
          </a:p>
        </p:txBody>
      </p:sp>
    </p:spTree>
    <p:extLst>
      <p:ext uri="{BB962C8B-B14F-4D97-AF65-F5344CB8AC3E}">
        <p14:creationId xmlns:p14="http://schemas.microsoft.com/office/powerpoint/2010/main" val="41057721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ustom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20CC6FFA-9190-C446-B892-8505F567962E}"/>
              </a:ext>
            </a:extLst>
          </p:cNvPr>
          <p:cNvSpPr/>
          <p:nvPr userDrawn="1"/>
        </p:nvSpPr>
        <p:spPr bwMode="auto">
          <a:xfrm>
            <a:off x="0" y="0"/>
            <a:ext cx="4281142" cy="6858000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marR="0" indent="-609600" algn="ctr" defTabSz="914400" rtl="0" eaLnBrk="1" fontAlgn="base" latinLnBrk="0" hangingPunct="1">
              <a:spcAft>
                <a:spcPct val="0"/>
              </a:spcAft>
              <a:buClrTx/>
              <a:buSzTx/>
              <a:buFont typeface="Helvetica" pitchFamily="84" charset="0"/>
              <a:buNone/>
              <a:tabLst/>
            </a:pPr>
            <a:endParaRPr kumimoji="0" lang="en-US" sz="3000" b="0" i="0" u="none" strike="noStrike" cap="none" normalizeH="0" err="1">
              <a:ln>
                <a:noFill/>
              </a:ln>
              <a:solidFill>
                <a:srgbClr val="404040"/>
              </a:solidFill>
              <a:effectLst/>
              <a:ea typeface="ヒラギノ角ゴ Pro W3" pitchFamily="84" charset="-128"/>
            </a:endParaRPr>
          </a:p>
        </p:txBody>
      </p:sp>
      <p:pic>
        <p:nvPicPr>
          <p:cNvPr id="6" name="Picture 5" descr="lionlogo_white.eps">
            <a:extLst>
              <a:ext uri="{FF2B5EF4-FFF2-40B4-BE49-F238E27FC236}">
                <a16:creationId xmlns:a16="http://schemas.microsoft.com/office/drawing/2014/main" id="{351EE3E6-C00E-3840-AE2F-425380247D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482" y="-457200"/>
            <a:ext cx="8686802" cy="8473974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ABCF45D-15BA-F544-A2F1-1B5A8159B3D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2743200"/>
            <a:ext cx="3276600" cy="1143000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2400" b="1">
                <a:solidFill>
                  <a:srgbClr val="0A5496"/>
                </a:solidFill>
              </a:defRPr>
            </a:lvl1pPr>
          </a:lstStyle>
          <a:p>
            <a:pPr lvl="0"/>
            <a:r>
              <a:rPr lang="en-US" dirty="0"/>
              <a:t>Title here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5795C4B-63C3-3242-871B-1253E5636A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648200" y="381000"/>
            <a:ext cx="7239000" cy="6019726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519099" indent="0">
              <a:buNone/>
              <a:defRPr sz="2000"/>
            </a:lvl2pPr>
            <a:lvl3pPr marL="914377" indent="0">
              <a:buNone/>
              <a:defRPr sz="2000"/>
            </a:lvl3pPr>
            <a:lvl4pPr marL="1371565" indent="0">
              <a:buNone/>
              <a:defRPr sz="2000"/>
            </a:lvl4pPr>
            <a:lvl5pPr marL="1828755" indent="0">
              <a:buNone/>
              <a:defRPr sz="2000"/>
            </a:lvl5pPr>
          </a:lstStyle>
          <a:p>
            <a:r>
              <a:rPr lang="en-US" sz="2000" dirty="0"/>
              <a:t>Lorem ipsum dolor sit amet, </a:t>
            </a:r>
            <a:r>
              <a:rPr lang="en-US" sz="2000" dirty="0" err="1"/>
              <a:t>consectetur</a:t>
            </a:r>
            <a:r>
              <a:rPr lang="en-US" sz="2000" dirty="0"/>
              <a:t> </a:t>
            </a:r>
            <a:r>
              <a:rPr lang="en-US" sz="2000" dirty="0" err="1"/>
              <a:t>adipiscing</a:t>
            </a:r>
            <a:r>
              <a:rPr lang="en-US" sz="2000" dirty="0"/>
              <a:t> </a:t>
            </a:r>
            <a:r>
              <a:rPr lang="en-US" sz="2000" dirty="0" err="1"/>
              <a:t>elit</a:t>
            </a:r>
            <a:r>
              <a:rPr lang="en-US" sz="2000" dirty="0"/>
              <a:t>, </a:t>
            </a:r>
            <a:r>
              <a:rPr lang="en-US" sz="2000" dirty="0" err="1"/>
              <a:t>sed</a:t>
            </a:r>
            <a:r>
              <a:rPr lang="en-US" sz="2000" dirty="0"/>
              <a:t> do </a:t>
            </a:r>
            <a:r>
              <a:rPr lang="en-US" sz="2000" dirty="0" err="1"/>
              <a:t>eiusmod</a:t>
            </a:r>
            <a:r>
              <a:rPr lang="en-US" sz="2000" dirty="0"/>
              <a:t> </a:t>
            </a:r>
            <a:r>
              <a:rPr lang="en-US" sz="2000" dirty="0" err="1"/>
              <a:t>tempor</a:t>
            </a:r>
            <a:r>
              <a:rPr lang="en-US" sz="2000" dirty="0"/>
              <a:t> </a:t>
            </a:r>
            <a:r>
              <a:rPr lang="en-US" sz="2000" dirty="0" err="1"/>
              <a:t>incididunt</a:t>
            </a:r>
            <a:r>
              <a:rPr lang="en-US" sz="2000" dirty="0"/>
              <a:t> </a:t>
            </a:r>
            <a:r>
              <a:rPr lang="en-US" sz="2000" dirty="0" err="1"/>
              <a:t>ut</a:t>
            </a:r>
            <a:r>
              <a:rPr lang="en-US" sz="2000" dirty="0"/>
              <a:t> </a:t>
            </a:r>
            <a:r>
              <a:rPr lang="en-US" sz="2000" dirty="0" err="1"/>
              <a:t>labore</a:t>
            </a:r>
            <a:r>
              <a:rPr lang="en-US" sz="2000" dirty="0"/>
              <a:t> et </a:t>
            </a:r>
            <a:r>
              <a:rPr lang="en-US" sz="2000" dirty="0" err="1"/>
              <a:t>dolore</a:t>
            </a:r>
            <a:r>
              <a:rPr lang="en-US" sz="2000" dirty="0"/>
              <a:t> magna </a:t>
            </a:r>
            <a:r>
              <a:rPr lang="en-US" sz="2000" dirty="0" err="1"/>
              <a:t>aliqua</a:t>
            </a:r>
            <a:r>
              <a:rPr lang="en-US" sz="2000" dirty="0"/>
              <a:t>. Semper </a:t>
            </a:r>
            <a:r>
              <a:rPr lang="en-US" sz="2000" dirty="0" err="1"/>
              <a:t>viverra</a:t>
            </a:r>
            <a:r>
              <a:rPr lang="en-US" sz="2000" dirty="0"/>
              <a:t> </a:t>
            </a:r>
            <a:r>
              <a:rPr lang="en-US" sz="2000" dirty="0" err="1"/>
              <a:t>nam</a:t>
            </a:r>
            <a:r>
              <a:rPr lang="en-US" sz="2000" dirty="0"/>
              <a:t> libero </a:t>
            </a:r>
            <a:r>
              <a:rPr lang="en-US" sz="2000" dirty="0" err="1"/>
              <a:t>justo</a:t>
            </a:r>
            <a:r>
              <a:rPr lang="en-US" sz="2000" dirty="0"/>
              <a:t> </a:t>
            </a:r>
            <a:r>
              <a:rPr lang="en-US" sz="2000" dirty="0" err="1"/>
              <a:t>laoreet</a:t>
            </a:r>
            <a:r>
              <a:rPr lang="en-US" sz="2000" dirty="0"/>
              <a:t> sit amet cursus. </a:t>
            </a:r>
            <a:r>
              <a:rPr lang="en-US" sz="2000" dirty="0" err="1"/>
              <a:t>Scelerisque</a:t>
            </a:r>
            <a:r>
              <a:rPr lang="en-US" sz="2000" dirty="0"/>
              <a:t> </a:t>
            </a:r>
            <a:r>
              <a:rPr lang="en-US" sz="2000" dirty="0" err="1"/>
              <a:t>mauris</a:t>
            </a:r>
            <a:r>
              <a:rPr lang="en-US" sz="2000" dirty="0"/>
              <a:t> </a:t>
            </a:r>
            <a:r>
              <a:rPr lang="en-US" sz="2000" dirty="0" err="1"/>
              <a:t>pellentesque</a:t>
            </a:r>
            <a:r>
              <a:rPr lang="en-US" sz="2000" dirty="0"/>
              <a:t> </a:t>
            </a:r>
            <a:r>
              <a:rPr lang="en-US" sz="2000" dirty="0" err="1"/>
              <a:t>pulvinar</a:t>
            </a:r>
            <a:r>
              <a:rPr lang="en-US" sz="2000" dirty="0"/>
              <a:t> </a:t>
            </a:r>
            <a:r>
              <a:rPr lang="en-US" sz="2000" dirty="0" err="1"/>
              <a:t>pellentesque</a:t>
            </a:r>
            <a:r>
              <a:rPr lang="en-US" sz="2000" dirty="0"/>
              <a:t> habitant </a:t>
            </a:r>
            <a:r>
              <a:rPr lang="en-US" sz="2000" dirty="0" err="1"/>
              <a:t>morbi</a:t>
            </a:r>
            <a:r>
              <a:rPr lang="en-US" sz="2000" dirty="0"/>
              <a:t> </a:t>
            </a:r>
            <a:r>
              <a:rPr lang="en-US" sz="2000" dirty="0" err="1"/>
              <a:t>tristique</a:t>
            </a:r>
            <a:r>
              <a:rPr lang="en-US" sz="2000" dirty="0"/>
              <a:t> </a:t>
            </a:r>
            <a:r>
              <a:rPr lang="en-US" sz="2000" dirty="0" err="1"/>
              <a:t>senectus</a:t>
            </a:r>
            <a:r>
              <a:rPr lang="en-US" sz="2000" dirty="0"/>
              <a:t>. </a:t>
            </a:r>
          </a:p>
          <a:p>
            <a:endParaRPr lang="en-US" sz="2000" dirty="0"/>
          </a:p>
          <a:p>
            <a:r>
              <a:rPr lang="en-US" sz="2000" dirty="0" err="1"/>
              <a:t>Consectetur</a:t>
            </a:r>
            <a:r>
              <a:rPr lang="en-US" sz="2000" dirty="0"/>
              <a:t> </a:t>
            </a:r>
            <a:r>
              <a:rPr lang="en-US" sz="2000" dirty="0" err="1"/>
              <a:t>adipiscing</a:t>
            </a:r>
            <a:r>
              <a:rPr lang="en-US" sz="2000" dirty="0"/>
              <a:t> </a:t>
            </a:r>
            <a:r>
              <a:rPr lang="en-US" sz="2000" dirty="0" err="1"/>
              <a:t>elit</a:t>
            </a:r>
            <a:r>
              <a:rPr lang="en-US" sz="2000" dirty="0"/>
              <a:t> </a:t>
            </a:r>
            <a:r>
              <a:rPr lang="en-US" sz="2000" dirty="0" err="1"/>
              <a:t>pellentesque</a:t>
            </a:r>
            <a:r>
              <a:rPr lang="en-US" sz="2000" dirty="0"/>
              <a:t> habitant </a:t>
            </a:r>
            <a:r>
              <a:rPr lang="en-US" sz="2000" dirty="0" err="1"/>
              <a:t>morbi</a:t>
            </a:r>
            <a:r>
              <a:rPr lang="en-US" sz="2000" dirty="0"/>
              <a:t> </a:t>
            </a:r>
            <a:r>
              <a:rPr lang="en-US" sz="2000" dirty="0" err="1"/>
              <a:t>tristique</a:t>
            </a:r>
            <a:r>
              <a:rPr lang="en-US" sz="2000" dirty="0"/>
              <a:t> </a:t>
            </a:r>
            <a:r>
              <a:rPr lang="en-US" sz="2000" dirty="0" err="1"/>
              <a:t>senectus</a:t>
            </a:r>
            <a:r>
              <a:rPr lang="en-US" sz="2000" dirty="0"/>
              <a:t> et </a:t>
            </a:r>
            <a:r>
              <a:rPr lang="en-US" sz="2000" dirty="0" err="1"/>
              <a:t>netus</a:t>
            </a:r>
            <a:r>
              <a:rPr lang="en-US" sz="2000" dirty="0"/>
              <a:t>. </a:t>
            </a:r>
            <a:r>
              <a:rPr lang="en-US" sz="2000" dirty="0" err="1"/>
              <a:t>Curabitur</a:t>
            </a:r>
            <a:r>
              <a:rPr lang="en-US" sz="2000" dirty="0"/>
              <a:t> vitae </a:t>
            </a:r>
            <a:r>
              <a:rPr lang="en-US" sz="2000" dirty="0" err="1"/>
              <a:t>nunc</a:t>
            </a:r>
            <a:r>
              <a:rPr lang="en-US" sz="2000" dirty="0"/>
              <a:t> </a:t>
            </a:r>
            <a:r>
              <a:rPr lang="en-US" sz="2000" dirty="0" err="1"/>
              <a:t>sed</a:t>
            </a:r>
            <a:r>
              <a:rPr lang="en-US" sz="2000" dirty="0"/>
              <a:t> </a:t>
            </a:r>
            <a:r>
              <a:rPr lang="en-US" sz="2000" dirty="0" err="1"/>
              <a:t>velit</a:t>
            </a:r>
            <a:r>
              <a:rPr lang="en-US" sz="2000" dirty="0"/>
              <a:t> </a:t>
            </a:r>
            <a:r>
              <a:rPr lang="en-US" sz="2000" dirty="0" err="1"/>
              <a:t>dignissim</a:t>
            </a:r>
            <a:r>
              <a:rPr lang="en-US" sz="2000" dirty="0"/>
              <a:t> </a:t>
            </a:r>
            <a:r>
              <a:rPr lang="en-US" sz="2000" dirty="0" err="1"/>
              <a:t>sodales</a:t>
            </a:r>
            <a:r>
              <a:rPr lang="en-US" sz="2000" dirty="0"/>
              <a:t>. </a:t>
            </a:r>
            <a:r>
              <a:rPr lang="en-US" sz="2000" dirty="0" err="1"/>
              <a:t>Consequat</a:t>
            </a:r>
            <a:r>
              <a:rPr lang="en-US" sz="2000" dirty="0"/>
              <a:t> ac </a:t>
            </a:r>
            <a:r>
              <a:rPr lang="en-US" sz="2000" dirty="0" err="1"/>
              <a:t>felis</a:t>
            </a:r>
            <a:r>
              <a:rPr lang="en-US" sz="2000" dirty="0"/>
              <a:t> </a:t>
            </a:r>
            <a:r>
              <a:rPr lang="en-US" sz="2000" dirty="0" err="1"/>
              <a:t>donec</a:t>
            </a:r>
            <a:r>
              <a:rPr lang="en-US" sz="2000" dirty="0"/>
              <a:t> et </a:t>
            </a:r>
            <a:r>
              <a:rPr lang="en-US" sz="2000" dirty="0" err="1"/>
              <a:t>odio</a:t>
            </a:r>
            <a:r>
              <a:rPr lang="en-US" sz="2000" dirty="0"/>
              <a:t> </a:t>
            </a:r>
            <a:r>
              <a:rPr lang="en-US" sz="2000" dirty="0" err="1"/>
              <a:t>pellentesque</a:t>
            </a:r>
            <a:r>
              <a:rPr lang="en-US" sz="2000" dirty="0"/>
              <a:t>. At </a:t>
            </a:r>
            <a:r>
              <a:rPr lang="en-US" sz="2000" dirty="0" err="1"/>
              <a:t>lectus</a:t>
            </a:r>
            <a:r>
              <a:rPr lang="en-US" sz="2000" dirty="0"/>
              <a:t> </a:t>
            </a:r>
            <a:r>
              <a:rPr lang="en-US" sz="2000" dirty="0" err="1"/>
              <a:t>urna</a:t>
            </a:r>
            <a:r>
              <a:rPr lang="en-US" sz="2000" dirty="0"/>
              <a:t> </a:t>
            </a:r>
            <a:r>
              <a:rPr lang="en-US" sz="2000" dirty="0" err="1"/>
              <a:t>duis</a:t>
            </a:r>
            <a:r>
              <a:rPr lang="en-US" sz="2000" dirty="0"/>
              <a:t> convallis. </a:t>
            </a:r>
            <a:r>
              <a:rPr lang="en-US" sz="2000" dirty="0" err="1"/>
              <a:t>Commodo</a:t>
            </a:r>
            <a:r>
              <a:rPr lang="en-US" sz="2000" dirty="0"/>
              <a:t> </a:t>
            </a:r>
            <a:r>
              <a:rPr lang="en-US" sz="2000" dirty="0" err="1"/>
              <a:t>nulla</a:t>
            </a:r>
            <a:r>
              <a:rPr lang="en-US" sz="2000" dirty="0"/>
              <a:t> </a:t>
            </a:r>
            <a:r>
              <a:rPr lang="en-US" sz="2000" dirty="0" err="1"/>
              <a:t>facilisi</a:t>
            </a:r>
            <a:r>
              <a:rPr lang="en-US" sz="2000" dirty="0"/>
              <a:t> </a:t>
            </a:r>
            <a:r>
              <a:rPr lang="en-US" sz="2000" dirty="0" err="1"/>
              <a:t>nullam</a:t>
            </a:r>
            <a:r>
              <a:rPr lang="en-US" sz="2000" dirty="0"/>
              <a:t> </a:t>
            </a:r>
            <a:r>
              <a:rPr lang="en-US" sz="2000" dirty="0" err="1"/>
              <a:t>vehicula</a:t>
            </a:r>
            <a:r>
              <a:rPr lang="en-US" sz="2000" dirty="0"/>
              <a:t> ipsum. Nunc </a:t>
            </a:r>
            <a:r>
              <a:rPr lang="en-US" sz="2000" dirty="0" err="1"/>
              <a:t>lobortis</a:t>
            </a:r>
            <a:r>
              <a:rPr lang="en-US" sz="2000" dirty="0"/>
              <a:t> </a:t>
            </a:r>
            <a:r>
              <a:rPr lang="en-US" sz="2000" dirty="0" err="1"/>
              <a:t>mattis</a:t>
            </a:r>
            <a:r>
              <a:rPr lang="en-US" sz="2000" dirty="0"/>
              <a:t> </a:t>
            </a:r>
            <a:r>
              <a:rPr lang="en-US" sz="2000" dirty="0" err="1"/>
              <a:t>aliquam</a:t>
            </a:r>
            <a:r>
              <a:rPr lang="en-US" sz="2000" dirty="0"/>
              <a:t> </a:t>
            </a:r>
            <a:r>
              <a:rPr lang="en-US" sz="2000" dirty="0" err="1"/>
              <a:t>faucibus</a:t>
            </a:r>
            <a:r>
              <a:rPr lang="en-US" sz="2000" dirty="0"/>
              <a:t> </a:t>
            </a:r>
            <a:r>
              <a:rPr lang="en-US" sz="2000" dirty="0" err="1"/>
              <a:t>purus</a:t>
            </a:r>
            <a:r>
              <a:rPr lang="en-US" sz="2000" dirty="0"/>
              <a:t> in </a:t>
            </a:r>
            <a:r>
              <a:rPr lang="en-US" sz="2000" dirty="0" err="1"/>
              <a:t>massa</a:t>
            </a:r>
            <a:r>
              <a:rPr lang="en-US" sz="2000" dirty="0"/>
              <a:t>. </a:t>
            </a:r>
          </a:p>
          <a:p>
            <a:endParaRPr lang="en-US" sz="2000" dirty="0"/>
          </a:p>
          <a:p>
            <a:r>
              <a:rPr lang="en-US" sz="2000" dirty="0"/>
              <a:t>Nunc </a:t>
            </a:r>
            <a:r>
              <a:rPr lang="en-US" sz="2000" dirty="0" err="1"/>
              <a:t>faucibus</a:t>
            </a:r>
            <a:r>
              <a:rPr lang="en-US" sz="2000" dirty="0"/>
              <a:t> a </a:t>
            </a:r>
            <a:r>
              <a:rPr lang="en-US" sz="2000" dirty="0" err="1"/>
              <a:t>pellentesque</a:t>
            </a:r>
            <a:r>
              <a:rPr lang="en-US" sz="2000" dirty="0"/>
              <a:t> sit amet </a:t>
            </a:r>
            <a:r>
              <a:rPr lang="en-US" sz="2000" dirty="0" err="1"/>
              <a:t>porttitor</a:t>
            </a:r>
            <a:r>
              <a:rPr lang="en-US" sz="2000" dirty="0"/>
              <a:t> </a:t>
            </a:r>
            <a:r>
              <a:rPr lang="en-US" sz="2000" dirty="0" err="1"/>
              <a:t>eget</a:t>
            </a:r>
            <a:r>
              <a:rPr lang="en-US" sz="2000" dirty="0"/>
              <a:t> dolor </a:t>
            </a:r>
            <a:r>
              <a:rPr lang="en-US" sz="2000" dirty="0" err="1"/>
              <a:t>morbi</a:t>
            </a:r>
            <a:r>
              <a:rPr lang="en-US" sz="2000" dirty="0"/>
              <a:t>. </a:t>
            </a:r>
            <a:r>
              <a:rPr lang="en-US" sz="2000" dirty="0" err="1"/>
              <a:t>Viverra</a:t>
            </a:r>
            <a:r>
              <a:rPr lang="en-US" sz="2000" dirty="0"/>
              <a:t> </a:t>
            </a:r>
            <a:r>
              <a:rPr lang="en-US" sz="2000" dirty="0" err="1"/>
              <a:t>nam</a:t>
            </a:r>
            <a:r>
              <a:rPr lang="en-US" sz="2000" dirty="0"/>
              <a:t> libero </a:t>
            </a:r>
            <a:r>
              <a:rPr lang="en-US" sz="2000" dirty="0" err="1"/>
              <a:t>justo</a:t>
            </a:r>
            <a:r>
              <a:rPr lang="en-US" sz="2000" dirty="0"/>
              <a:t> </a:t>
            </a:r>
            <a:r>
              <a:rPr lang="en-US" sz="2000" dirty="0" err="1"/>
              <a:t>laoreet</a:t>
            </a:r>
            <a:r>
              <a:rPr lang="en-US" sz="2000" dirty="0"/>
              <a:t> sit amet. </a:t>
            </a:r>
            <a:r>
              <a:rPr lang="en-US" sz="2000" dirty="0" err="1"/>
              <a:t>Malesuada</a:t>
            </a:r>
            <a:r>
              <a:rPr lang="en-US" sz="2000" dirty="0"/>
              <a:t> fames ac </a:t>
            </a:r>
            <a:r>
              <a:rPr lang="en-US" sz="2000" dirty="0" err="1"/>
              <a:t>turpis</a:t>
            </a:r>
            <a:r>
              <a:rPr lang="en-US" sz="2000" dirty="0"/>
              <a:t> </a:t>
            </a:r>
            <a:r>
              <a:rPr lang="en-US" sz="2000" dirty="0" err="1"/>
              <a:t>egestas</a:t>
            </a:r>
            <a:r>
              <a:rPr lang="en-US" sz="2000" dirty="0"/>
              <a:t> integer </a:t>
            </a:r>
            <a:r>
              <a:rPr lang="en-US" sz="2000" dirty="0" err="1"/>
              <a:t>eget</a:t>
            </a:r>
            <a:r>
              <a:rPr lang="en-US" sz="2000" dirty="0"/>
              <a:t> </a:t>
            </a:r>
            <a:r>
              <a:rPr lang="en-US" sz="2000" dirty="0" err="1"/>
              <a:t>aliquet</a:t>
            </a:r>
            <a:r>
              <a:rPr lang="en-US" sz="2000" dirty="0"/>
              <a:t> </a:t>
            </a:r>
            <a:r>
              <a:rPr lang="en-US" sz="2000" dirty="0" err="1"/>
              <a:t>nibh</a:t>
            </a:r>
            <a:r>
              <a:rPr lang="en-US" sz="2000" dirty="0"/>
              <a:t>. </a:t>
            </a:r>
            <a:r>
              <a:rPr lang="en-US" sz="2000" dirty="0" err="1"/>
              <a:t>Viverra</a:t>
            </a:r>
            <a:r>
              <a:rPr lang="en-US" sz="2000" dirty="0"/>
              <a:t> </a:t>
            </a:r>
            <a:r>
              <a:rPr lang="en-US" sz="2000" dirty="0" err="1"/>
              <a:t>adipiscing</a:t>
            </a:r>
            <a:r>
              <a:rPr lang="en-US" sz="2000" dirty="0"/>
              <a:t> at in </a:t>
            </a:r>
            <a:r>
              <a:rPr lang="en-US" sz="2000" dirty="0" err="1"/>
              <a:t>tellus</a:t>
            </a:r>
            <a:r>
              <a:rPr lang="en-US" sz="2000" dirty="0"/>
              <a:t> integer. Quam </a:t>
            </a:r>
            <a:r>
              <a:rPr lang="en-US" sz="2000" dirty="0" err="1"/>
              <a:t>nulla</a:t>
            </a:r>
            <a:r>
              <a:rPr lang="en-US" sz="2000" dirty="0"/>
              <a:t> </a:t>
            </a:r>
            <a:r>
              <a:rPr lang="en-US" sz="2000" dirty="0" err="1"/>
              <a:t>porttitor</a:t>
            </a:r>
            <a:r>
              <a:rPr lang="en-US" sz="2000" dirty="0"/>
              <a:t> </a:t>
            </a:r>
            <a:r>
              <a:rPr lang="en-US" sz="2000" dirty="0" err="1"/>
              <a:t>massa</a:t>
            </a:r>
            <a:r>
              <a:rPr lang="en-US" sz="2000" dirty="0"/>
              <a:t> id </a:t>
            </a:r>
            <a:r>
              <a:rPr lang="en-US" sz="2000" dirty="0" err="1"/>
              <a:t>neque</a:t>
            </a:r>
            <a:r>
              <a:rPr lang="en-US" sz="2000" dirty="0"/>
              <a:t>. Pretium </a:t>
            </a:r>
            <a:r>
              <a:rPr lang="en-US" sz="2000" dirty="0" err="1"/>
              <a:t>aenean</a:t>
            </a:r>
            <a:r>
              <a:rPr lang="en-US" sz="2000" dirty="0"/>
              <a:t> pharetra magna ac </a:t>
            </a:r>
            <a:r>
              <a:rPr lang="en-US" sz="2000" dirty="0" err="1"/>
              <a:t>placerat</a:t>
            </a:r>
            <a:r>
              <a:rPr lang="en-US" sz="2000" dirty="0"/>
              <a:t> </a:t>
            </a:r>
            <a:r>
              <a:rPr lang="en-US" sz="2000" dirty="0" err="1"/>
              <a:t>vestibulum</a:t>
            </a:r>
            <a:r>
              <a:rPr lang="en-US" sz="2000" dirty="0"/>
              <a:t> </a:t>
            </a:r>
            <a:r>
              <a:rPr lang="en-US" sz="2000" dirty="0" err="1"/>
              <a:t>lectus</a:t>
            </a:r>
            <a:r>
              <a:rPr lang="en-US" sz="2000" dirty="0"/>
              <a:t> </a:t>
            </a:r>
            <a:r>
              <a:rPr lang="en-US" sz="2000" dirty="0" err="1"/>
              <a:t>mauris</a:t>
            </a:r>
            <a:r>
              <a:rPr lang="en-US" sz="200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5280608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pic>
        <p:nvPicPr>
          <p:cNvPr id="4" name="Picture 3" descr="lionlogo_white.eps">
            <a:extLst>
              <a:ext uri="{FF2B5EF4-FFF2-40B4-BE49-F238E27FC236}">
                <a16:creationId xmlns:a16="http://schemas.microsoft.com/office/drawing/2014/main" id="{684A4C76-6039-804D-8CB8-106542C85DB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alphaModFix amt="33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62800" y="0"/>
            <a:ext cx="7280754" cy="7102374"/>
          </a:xfrm>
          <a:prstGeom prst="rect">
            <a:avLst/>
          </a:prstGeom>
        </p:spPr>
      </p:pic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E19138A4-B106-5647-9E25-A0B9EA158B40}"/>
              </a:ext>
            </a:extLst>
          </p:cNvPr>
          <p:cNvCxnSpPr/>
          <p:nvPr userDrawn="1"/>
        </p:nvCxnSpPr>
        <p:spPr>
          <a:xfrm>
            <a:off x="838200" y="1219200"/>
            <a:ext cx="5029200" cy="0"/>
          </a:xfrm>
          <a:prstGeom prst="line">
            <a:avLst/>
          </a:prstGeom>
          <a:ln w="76200">
            <a:solidFill>
              <a:srgbClr val="FFD127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1A19E429-053A-3346-AB28-66143884869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8200" y="5541946"/>
            <a:ext cx="964932" cy="914400"/>
          </a:xfrm>
          <a:prstGeom prst="rect">
            <a:avLst/>
          </a:prstGeom>
        </p:spPr>
      </p:pic>
      <p:sp>
        <p:nvSpPr>
          <p:cNvPr id="7" name="Title 1">
            <a:extLst>
              <a:ext uri="{FF2B5EF4-FFF2-40B4-BE49-F238E27FC236}">
                <a16:creationId xmlns:a16="http://schemas.microsoft.com/office/drawing/2014/main" id="{E3315EA2-0FCF-964A-B51F-29EF0E9D7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444078"/>
            <a:ext cx="8686801" cy="5334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b="1" i="0">
                <a:solidFill>
                  <a:srgbClr val="095495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n-US" dirty="0"/>
              <a:t>Session title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99D66FD4-71EE-4B42-B6B1-1C529A8A8BF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838200" y="1535008"/>
            <a:ext cx="5943600" cy="1143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pl-PL" sz="2400" b="1" dirty="0" err="1">
                <a:solidFill>
                  <a:srgbClr val="0A5496"/>
                </a:solidFill>
                <a:ea typeface="Arial Hebrew Scholar" charset="-79"/>
                <a:cs typeface="Arial" panose="020B0604020202020204" pitchFamily="34" charset="0"/>
              </a:rPr>
              <a:t>Date</a:t>
            </a:r>
            <a:endParaRPr lang="pl-PL" sz="2400" b="1" dirty="0">
              <a:solidFill>
                <a:srgbClr val="0A5496"/>
              </a:solidFill>
              <a:ea typeface="Arial Hebrew Scholar" charset="-79"/>
              <a:cs typeface="Arial" panose="020B0604020202020204" pitchFamily="34" charset="0"/>
            </a:endParaRPr>
          </a:p>
          <a:p>
            <a:r>
              <a:rPr lang="pl-PL" sz="1800" dirty="0">
                <a:solidFill>
                  <a:srgbClr val="0A5496"/>
                </a:solidFill>
                <a:ea typeface="Arial Hebrew Scholar" charset="-79"/>
                <a:cs typeface="Arial" panose="020B0604020202020204" pitchFamily="34" charset="0"/>
              </a:rPr>
              <a:t>00:00-00:00 </a:t>
            </a:r>
          </a:p>
          <a:p>
            <a:r>
              <a:rPr lang="pl-PL" sz="1800" dirty="0" err="1">
                <a:solidFill>
                  <a:srgbClr val="0A5496"/>
                </a:solidFill>
                <a:ea typeface="Arial Hebrew Scholar" charset="-79"/>
                <a:cs typeface="Arial" panose="020B0604020202020204" pitchFamily="34" charset="0"/>
              </a:rPr>
              <a:t>Location</a:t>
            </a:r>
            <a:endParaRPr lang="en-US" sz="1800" dirty="0">
              <a:solidFill>
                <a:srgbClr val="0A5496"/>
              </a:solidFill>
              <a:ea typeface="Arial Hebrew Scholar" charset="-79"/>
              <a:cs typeface="Arial" panose="020B0604020202020204" pitchFamily="34" charset="0"/>
            </a:endParaRPr>
          </a:p>
          <a:p>
            <a:pPr lvl="0"/>
            <a:endParaRPr lang="en-US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013E082-34F3-3748-A287-98FA86956B77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38200" y="3124200"/>
            <a:ext cx="8763000" cy="19812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/>
            </a:lvl1pPr>
            <a:lvl2pPr marL="519099" indent="0">
              <a:buNone/>
              <a:defRPr sz="2400"/>
            </a:lvl2pPr>
            <a:lvl3pPr marL="914377" indent="0">
              <a:buNone/>
              <a:defRPr sz="2400"/>
            </a:lvl3pPr>
            <a:lvl4pPr marL="1371565" indent="0">
              <a:buNone/>
              <a:defRPr sz="2400"/>
            </a:lvl4pPr>
            <a:lvl5pPr marL="1828755" indent="0">
              <a:buNone/>
              <a:defRPr sz="2400"/>
            </a:lvl5pPr>
          </a:lstStyle>
          <a:p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d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sz="24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sz="24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sz="24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id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4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sz="24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</a:t>
            </a:r>
            <a:endParaRPr lang="en-US" sz="2200" dirty="0">
              <a:solidFill>
                <a:schemeClr val="accent6">
                  <a:lumMod val="50000"/>
                  <a:lumOff val="50000"/>
                </a:schemeClr>
              </a:solidFill>
              <a:latin typeface="Arial Hebrew Scholar" charset="-79"/>
              <a:ea typeface="Arial Hebrew Scholar" charset="-79"/>
              <a:cs typeface="Arial Hebrew Scholar" charset="-79"/>
            </a:endParaRPr>
          </a:p>
        </p:txBody>
      </p:sp>
    </p:spTree>
    <p:extLst>
      <p:ext uri="{BB962C8B-B14F-4D97-AF65-F5344CB8AC3E}">
        <p14:creationId xmlns:p14="http://schemas.microsoft.com/office/powerpoint/2010/main" val="121025294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>
            <a:extLst>
              <a:ext uri="{FF2B5EF4-FFF2-40B4-BE49-F238E27FC236}">
                <a16:creationId xmlns:a16="http://schemas.microsoft.com/office/drawing/2014/main" id="{E4F2B938-A092-8A40-BA9E-36EB895796A6}"/>
              </a:ext>
            </a:extLst>
          </p:cNvPr>
          <p:cNvSpPr txBox="1"/>
          <p:nvPr userDrawn="1"/>
        </p:nvSpPr>
        <p:spPr>
          <a:xfrm>
            <a:off x="342901" y="385480"/>
            <a:ext cx="3505200" cy="6247864"/>
          </a:xfrm>
          <a:prstGeom prst="rect">
            <a:avLst/>
          </a:prstGeom>
          <a:noFill/>
        </p:spPr>
        <p:txBody>
          <a:bodyPr wrap="square" rtlCol="0" anchor="b">
            <a:spAutoFit/>
          </a:bodyPr>
          <a:lstStyle/>
          <a:p>
            <a:r>
              <a:rPr lang="en-US" sz="40000">
                <a:solidFill>
                  <a:srgbClr val="FFFFFF"/>
                </a:solidFill>
                <a:latin typeface="Arial" charset="0"/>
                <a:ea typeface="Arial" charset="0"/>
                <a:cs typeface="Arial" charset="0"/>
              </a:rPr>
              <a:t>#</a:t>
            </a:r>
          </a:p>
        </p:txBody>
      </p:sp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3315EA2-0FCF-964A-B51F-29EF0E9D77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62000" y="444078"/>
            <a:ext cx="8686801" cy="5334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3600" b="1" i="0">
                <a:solidFill>
                  <a:srgbClr val="095495"/>
                </a:solidFill>
                <a:latin typeface="Helvetica Neue" charset="0"/>
                <a:ea typeface="Helvetica Neue" charset="0"/>
                <a:cs typeface="Helvetica Neue" charset="0"/>
              </a:defRPr>
            </a:lvl1pPr>
          </a:lstStyle>
          <a:p>
            <a:r>
              <a:rPr lang="en-US" dirty="0"/>
              <a:t>Insert headline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CD10A15-415D-E249-9DE4-AB27B911E08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038600" y="1828800"/>
            <a:ext cx="7848600" cy="32766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/>
            </a:lvl1pPr>
            <a:lvl2pPr marL="519099" indent="0">
              <a:buNone/>
              <a:defRPr sz="2000"/>
            </a:lvl2pPr>
            <a:lvl3pPr marL="914377" indent="0">
              <a:buNone/>
              <a:defRPr sz="2000"/>
            </a:lvl3pPr>
            <a:lvl4pPr marL="1371565" indent="0">
              <a:buNone/>
              <a:defRPr sz="2000"/>
            </a:lvl4pPr>
            <a:lvl5pPr marL="1828755" indent="0">
              <a:buNone/>
              <a:defRPr sz="2000"/>
            </a:lvl5pPr>
          </a:lstStyle>
          <a:p>
            <a:pPr marL="342900" indent="-342900">
              <a:buFont typeface="Arial" charset="0"/>
              <a:buChar char="•"/>
            </a:pP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sz="20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sz="20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sz="20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id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</a:t>
            </a:r>
            <a:b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</a:br>
            <a:endParaRPr lang="en-US" sz="2000" kern="0" dirty="0">
              <a:solidFill>
                <a:schemeClr val="accent6">
                  <a:lumMod val="50000"/>
                  <a:lumOff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non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d </a:t>
            </a:r>
            <a:r>
              <a:rPr lang="en-US" sz="20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sz="20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</a:t>
            </a:r>
            <a:b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</a:br>
            <a:endParaRPr lang="en-US" sz="2000" kern="0" dirty="0">
              <a:solidFill>
                <a:schemeClr val="accent6">
                  <a:lumMod val="50000"/>
                  <a:lumOff val="50000"/>
                </a:schemeClr>
              </a:solidFill>
              <a:latin typeface="Arial" charset="0"/>
              <a:ea typeface="Arial" charset="0"/>
              <a:cs typeface="Arial" charset="0"/>
            </a:endParaRPr>
          </a:p>
          <a:p>
            <a:pPr marL="342900" indent="-342900">
              <a:buFont typeface="Arial" charset="0"/>
              <a:buChar char="•"/>
            </a:pP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xcepteur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i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ccaeca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cupidata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b="1" kern="0" dirty="0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non </a:t>
            </a:r>
            <a:r>
              <a:rPr lang="en-US" sz="2000" b="1" kern="0" dirty="0" err="1">
                <a:solidFill>
                  <a:srgbClr val="0A5496"/>
                </a:solidFill>
                <a:latin typeface="Arial" charset="0"/>
                <a:ea typeface="Arial" charset="0"/>
                <a:cs typeface="Arial" charset="0"/>
              </a:rPr>
              <a:t>proide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,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su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n culpa qui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officia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deserun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molli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anim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id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est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en-US" sz="2000" kern="0" dirty="0" err="1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laborum</a:t>
            </a:r>
            <a:r>
              <a:rPr lang="en-US" sz="2000" kern="0" dirty="0">
                <a:solidFill>
                  <a:schemeClr val="accent6">
                    <a:lumMod val="50000"/>
                    <a:lumOff val="50000"/>
                  </a:schemeClr>
                </a:solidFill>
                <a:latin typeface="Arial" charset="0"/>
                <a:ea typeface="Arial" charset="0"/>
                <a:cs typeface="Arial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40461177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5_Custom Layout">
    <p:bg>
      <p:bgPr>
        <a:solidFill>
          <a:schemeClr val="bg1">
            <a:lumMod val="9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Box 9"/>
          <p:cNvSpPr txBox="1">
            <a:spLocks noChangeArrowheads="1"/>
          </p:cNvSpPr>
          <p:nvPr userDrawn="1"/>
        </p:nvSpPr>
        <p:spPr bwMode="auto">
          <a:xfrm>
            <a:off x="11328400" y="6400726"/>
            <a:ext cx="5588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ヒラギノ角ゴ Pro W3" charset="0"/>
                <a:cs typeface="ヒラギノ角ゴ Pro W3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ヒラギノ角ゴ Pro W3" charset="0"/>
              </a:defRPr>
            </a:lvl9pPr>
          </a:lstStyle>
          <a:p>
            <a:pPr algn="r" eaLnBrk="0" hangingPunct="0">
              <a:spcBef>
                <a:spcPct val="50000"/>
              </a:spcBef>
              <a:defRPr/>
            </a:pPr>
            <a:fld id="{CD81962F-67D4-FD44-86D5-55EBF96E0DB7}" type="slidenum">
              <a:rPr lang="en-US" sz="1000" smtClean="0">
                <a:solidFill>
                  <a:srgbClr val="0A5496"/>
                </a:solidFill>
              </a:rPr>
              <a:pPr algn="r" eaLnBrk="0" hangingPunct="0">
                <a:spcBef>
                  <a:spcPct val="50000"/>
                </a:spcBef>
                <a:defRPr/>
              </a:pPr>
              <a:t>‹Nr.›</a:t>
            </a:fld>
            <a:endParaRPr lang="en-US" sz="1000">
              <a:solidFill>
                <a:srgbClr val="0A5496"/>
              </a:solidFill>
            </a:endParaRPr>
          </a:p>
        </p:txBody>
      </p:sp>
      <p:sp>
        <p:nvSpPr>
          <p:cNvPr id="6" name="Text Placeholder 18">
            <a:extLst>
              <a:ext uri="{FF2B5EF4-FFF2-40B4-BE49-F238E27FC236}">
                <a16:creationId xmlns:a16="http://schemas.microsoft.com/office/drawing/2014/main" id="{4E74D1AD-D57F-5440-BE7B-98B13C10EC4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2991185" y="1219200"/>
            <a:ext cx="6209629" cy="445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1">
                <a:solidFill>
                  <a:srgbClr val="0A5496"/>
                </a:solidFill>
              </a:defRPr>
            </a:lvl1pPr>
            <a:lvl2pPr marL="519099" indent="0" algn="ctr">
              <a:buNone/>
              <a:defRPr sz="4000">
                <a:solidFill>
                  <a:srgbClr val="F0C300"/>
                </a:solidFill>
              </a:defRPr>
            </a:lvl2pPr>
            <a:lvl3pPr marL="914377" indent="0" algn="ctr">
              <a:buNone/>
              <a:defRPr sz="4000">
                <a:solidFill>
                  <a:srgbClr val="F0C300"/>
                </a:solidFill>
              </a:defRPr>
            </a:lvl3pPr>
            <a:lvl4pPr marL="1371565" indent="0" algn="ctr">
              <a:buNone/>
              <a:defRPr sz="4000">
                <a:solidFill>
                  <a:srgbClr val="F0C300"/>
                </a:solidFill>
              </a:defRPr>
            </a:lvl4pPr>
            <a:lvl5pPr marL="1828755" indent="0" algn="ctr">
              <a:buNone/>
              <a:defRPr sz="4000">
                <a:solidFill>
                  <a:srgbClr val="F0C300"/>
                </a:solidFill>
              </a:defRPr>
            </a:lvl5pPr>
          </a:lstStyle>
          <a:p>
            <a:pPr lvl="0"/>
            <a:r>
              <a:rPr lang="en-US" dirty="0"/>
              <a:t>Insert headline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D8869BDF-F147-3242-B3B9-51909D49BAB7}"/>
              </a:ext>
            </a:extLst>
          </p:cNvPr>
          <p:cNvSpPr/>
          <p:nvPr userDrawn="1"/>
        </p:nvSpPr>
        <p:spPr>
          <a:xfrm>
            <a:off x="5370871" y="1975122"/>
            <a:ext cx="1450259" cy="72760"/>
          </a:xfrm>
          <a:prstGeom prst="rect">
            <a:avLst/>
          </a:prstGeom>
          <a:solidFill>
            <a:srgbClr val="FBC608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algn="ctr"/>
            <a:endParaRPr lang="en-US"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0F68A244-CECA-F041-AD70-910F56A47209}"/>
              </a:ext>
            </a:extLst>
          </p:cNvPr>
          <p:cNvSpPr/>
          <p:nvPr userDrawn="1"/>
        </p:nvSpPr>
        <p:spPr bwMode="auto">
          <a:xfrm>
            <a:off x="8763000" y="3064705"/>
            <a:ext cx="2398894" cy="2398894"/>
          </a:xfrm>
          <a:prstGeom prst="ellipse">
            <a:avLst/>
          </a:prstGeom>
          <a:solidFill>
            <a:srgbClr val="10233F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609600" indent="-609600" algn="ctr">
              <a:buFont typeface="Helvetica" pitchFamily="84" charset="0"/>
              <a:buNone/>
            </a:pPr>
            <a:endParaRPr lang="en-US" sz="3000" err="1">
              <a:solidFill>
                <a:srgbClr val="404040"/>
              </a:solidFill>
              <a:latin typeface="Arial" charset="0"/>
              <a:ea typeface="Arial" charset="0"/>
              <a:cs typeface="Arial" charset="0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60D8B9-AE71-4842-9AE0-E07B8750490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1600" y="3587437"/>
            <a:ext cx="6172200" cy="1447800"/>
          </a:xfrm>
          <a:prstGeom prst="rect">
            <a:avLst/>
          </a:prstGeom>
        </p:spPr>
        <p:txBody>
          <a:bodyPr/>
          <a:lstStyle>
            <a:lvl1pPr marL="342900" marR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 sz="2400">
                <a:solidFill>
                  <a:schemeClr val="accent6">
                    <a:lumMod val="50000"/>
                    <a:lumOff val="50000"/>
                  </a:schemeClr>
                </a:solidFill>
              </a:defRPr>
            </a:lvl1pPr>
            <a:lvl2pPr marL="519099" indent="0">
              <a:buNone/>
              <a:defRPr sz="2400">
                <a:solidFill>
                  <a:schemeClr val="accent6">
                    <a:lumMod val="50000"/>
                    <a:lumOff val="50000"/>
                  </a:schemeClr>
                </a:solidFill>
              </a:defRPr>
            </a:lvl2pPr>
            <a:lvl3pPr marL="914377" indent="0">
              <a:buNone/>
              <a:defRPr sz="2400">
                <a:solidFill>
                  <a:schemeClr val="accent6">
                    <a:lumMod val="50000"/>
                    <a:lumOff val="50000"/>
                  </a:schemeClr>
                </a:solidFill>
              </a:defRPr>
            </a:lvl3pPr>
            <a:lvl4pPr marL="1371565" indent="0">
              <a:buNone/>
              <a:defRPr sz="2400">
                <a:solidFill>
                  <a:schemeClr val="accent6">
                    <a:lumMod val="50000"/>
                    <a:lumOff val="50000"/>
                  </a:schemeClr>
                </a:solidFill>
              </a:defRPr>
            </a:lvl4pPr>
            <a:lvl5pPr marL="1828755" indent="0">
              <a:buNone/>
              <a:defRPr sz="2400">
                <a:solidFill>
                  <a:schemeClr val="accent6">
                    <a:lumMod val="50000"/>
                    <a:lumOff val="50000"/>
                  </a:schemeClr>
                </a:solidFill>
              </a:defRPr>
            </a:lvl5pPr>
          </a:lstStyle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endParaRPr lang="en-US" dirty="0"/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endParaRPr lang="en-US" dirty="0"/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dirty="0" err="1"/>
              <a:t>Excepteur</a:t>
            </a:r>
            <a:r>
              <a:rPr lang="en-US" dirty="0"/>
              <a:t> </a:t>
            </a:r>
            <a:r>
              <a:rPr lang="en-US" dirty="0" err="1"/>
              <a:t>sint</a:t>
            </a:r>
            <a:r>
              <a:rPr lang="en-US" dirty="0"/>
              <a:t> </a:t>
            </a:r>
            <a:r>
              <a:rPr lang="en-US" dirty="0" err="1"/>
              <a:t>occaecat</a:t>
            </a:r>
            <a:r>
              <a:rPr lang="en-US" dirty="0"/>
              <a:t> </a:t>
            </a:r>
            <a:r>
              <a:rPr lang="en-US" dirty="0" err="1"/>
              <a:t>cupidatat</a:t>
            </a:r>
            <a:endParaRPr lang="en-US" dirty="0"/>
          </a:p>
          <a:p>
            <a:pPr marL="342900" marR="0" lvl="0" indent="-34290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tabLst/>
              <a:defRPr/>
            </a:pPr>
            <a:endParaRPr lang="en-US" dirty="0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9BE79663-AD90-FF47-A2BC-2688925AA2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201150" y="4343400"/>
            <a:ext cx="1619250" cy="5334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8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19099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377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565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755" indent="0">
              <a:buNone/>
              <a:defRPr sz="180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Descriptor copy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651F41AD-9823-E448-BF4A-350AC5B7E5F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9708356" y="3168337"/>
            <a:ext cx="604837" cy="1143000"/>
          </a:xfrm>
          <a:prstGeom prst="rect">
            <a:avLst/>
          </a:prstGeom>
        </p:spPr>
        <p:txBody>
          <a:bodyPr anchor="ctr"/>
          <a:lstStyle>
            <a:lvl1pPr marL="0" indent="0">
              <a:buNone/>
              <a:defRPr sz="6400" b="1">
                <a:solidFill>
                  <a:schemeClr val="bg1"/>
                </a:solidFill>
              </a:defRPr>
            </a:lvl1pPr>
            <a:lvl2pPr>
              <a:defRPr sz="4800" b="1"/>
            </a:lvl2pPr>
            <a:lvl3pPr>
              <a:defRPr sz="4800" b="1"/>
            </a:lvl3pPr>
            <a:lvl4pPr>
              <a:defRPr sz="4800" b="1"/>
            </a:lvl4pPr>
            <a:lvl5pPr>
              <a:defRPr sz="4800" b="1"/>
            </a:lvl5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755281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slideLayout" Target="../slideLayouts/slideLayout19.xml"/><Relationship Id="rId7" Type="http://schemas.openxmlformats.org/officeDocument/2006/relationships/oleObject" Target="../embeddings/oleObject2.bin"/><Relationship Id="rId2" Type="http://schemas.openxmlformats.org/officeDocument/2006/relationships/slideLayout" Target="../slideLayouts/slideLayout18.xml"/><Relationship Id="rId1" Type="http://schemas.openxmlformats.org/officeDocument/2006/relationships/slideLayout" Target="../slideLayouts/slideLayout17.xml"/><Relationship Id="rId6" Type="http://schemas.openxmlformats.org/officeDocument/2006/relationships/tags" Target="../tags/tag3.x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theme" Target="../theme/theme3.xml"/><Relationship Id="rId5" Type="http://schemas.openxmlformats.org/officeDocument/2006/relationships/slideLayout" Target="../slideLayouts/slideLayout25.xml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3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28.xml"/><Relationship Id="rId7" Type="http://schemas.openxmlformats.org/officeDocument/2006/relationships/slideLayout" Target="../slideLayouts/slideLayout32.xml"/><Relationship Id="rId12" Type="http://schemas.openxmlformats.org/officeDocument/2006/relationships/slideLayout" Target="../slideLayouts/slideLayout37.xml"/><Relationship Id="rId17" Type="http://schemas.openxmlformats.org/officeDocument/2006/relationships/image" Target="../media/image11.jpe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10.emf"/><Relationship Id="rId1" Type="http://schemas.openxmlformats.org/officeDocument/2006/relationships/slideLayout" Target="../slideLayouts/slideLayout26.xml"/><Relationship Id="rId6" Type="http://schemas.openxmlformats.org/officeDocument/2006/relationships/slideLayout" Target="../slideLayouts/slideLayout31.xml"/><Relationship Id="rId11" Type="http://schemas.openxmlformats.org/officeDocument/2006/relationships/slideLayout" Target="../slideLayouts/slideLayout36.xml"/><Relationship Id="rId5" Type="http://schemas.openxmlformats.org/officeDocument/2006/relationships/slideLayout" Target="../slideLayouts/slideLayout30.xml"/><Relationship Id="rId15" Type="http://schemas.openxmlformats.org/officeDocument/2006/relationships/oleObject" Target="../embeddings/oleObject4.bin"/><Relationship Id="rId10" Type="http://schemas.openxmlformats.org/officeDocument/2006/relationships/slideLayout" Target="../slideLayouts/slideLayout35.xml"/><Relationship Id="rId4" Type="http://schemas.openxmlformats.org/officeDocument/2006/relationships/slideLayout" Target="../slideLayouts/slideLayout29.xml"/><Relationship Id="rId9" Type="http://schemas.openxmlformats.org/officeDocument/2006/relationships/slideLayout" Target="../slideLayouts/slideLayout34.xml"/><Relationship Id="rId14" Type="http://schemas.openxmlformats.org/officeDocument/2006/relationships/tags" Target="../tags/tag5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5.xml"/><Relationship Id="rId13" Type="http://schemas.openxmlformats.org/officeDocument/2006/relationships/tags" Target="../tags/tag17.xml"/><Relationship Id="rId3" Type="http://schemas.openxmlformats.org/officeDocument/2006/relationships/slideLayout" Target="../slideLayouts/slideLayout40.xml"/><Relationship Id="rId7" Type="http://schemas.openxmlformats.org/officeDocument/2006/relationships/slideLayout" Target="../slideLayouts/slideLayout44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39.xml"/><Relationship Id="rId16" Type="http://schemas.openxmlformats.org/officeDocument/2006/relationships/image" Target="../media/image12.jpg"/><Relationship Id="rId1" Type="http://schemas.openxmlformats.org/officeDocument/2006/relationships/slideLayout" Target="../slideLayouts/slideLayout38.xml"/><Relationship Id="rId6" Type="http://schemas.openxmlformats.org/officeDocument/2006/relationships/slideLayout" Target="../slideLayouts/slideLayout43.xml"/><Relationship Id="rId11" Type="http://schemas.openxmlformats.org/officeDocument/2006/relationships/slideLayout" Target="../slideLayouts/slideLayout48.xml"/><Relationship Id="rId5" Type="http://schemas.openxmlformats.org/officeDocument/2006/relationships/slideLayout" Target="../slideLayouts/slideLayout42.xml"/><Relationship Id="rId15" Type="http://schemas.openxmlformats.org/officeDocument/2006/relationships/image" Target="../media/image10.emf"/><Relationship Id="rId10" Type="http://schemas.openxmlformats.org/officeDocument/2006/relationships/slideLayout" Target="../slideLayouts/slideLayout47.xml"/><Relationship Id="rId4" Type="http://schemas.openxmlformats.org/officeDocument/2006/relationships/slideLayout" Target="../slideLayouts/slideLayout41.xml"/><Relationship Id="rId9" Type="http://schemas.openxmlformats.org/officeDocument/2006/relationships/slideLayout" Target="../slideLayouts/slideLayout46.xml"/><Relationship Id="rId14" Type="http://schemas.openxmlformats.org/officeDocument/2006/relationships/oleObject" Target="../embeddings/oleObject16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92E40A23-BF63-1E23-4EC7-D566B236F3A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81745974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344" imgH="343" progId="TCLayout.ActiveDocument.1">
                  <p:embed/>
                </p:oleObj>
              </mc:Choice>
              <mc:Fallback>
                <p:oleObj name="think-cell Slide" r:id="rId19" imgW="344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31929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8" r:id="rId1"/>
    <p:sldLayoutId id="2147483859" r:id="rId2"/>
    <p:sldLayoutId id="2147483860" r:id="rId3"/>
    <p:sldLayoutId id="2147483882" r:id="rId4"/>
    <p:sldLayoutId id="2147483868" r:id="rId5"/>
    <p:sldLayoutId id="2147483869" r:id="rId6"/>
    <p:sldLayoutId id="2147483870" r:id="rId7"/>
    <p:sldLayoutId id="2147483871" r:id="rId8"/>
    <p:sldLayoutId id="2147483872" r:id="rId9"/>
    <p:sldLayoutId id="2147483873" r:id="rId10"/>
    <p:sldLayoutId id="2147483874" r:id="rId11"/>
    <p:sldLayoutId id="2147483880" r:id="rId12"/>
    <p:sldLayoutId id="2147483875" r:id="rId13"/>
    <p:sldLayoutId id="2147483878" r:id="rId14"/>
    <p:sldLayoutId id="2147483879" r:id="rId15"/>
    <p:sldLayoutId id="2147483876" r:id="rId16"/>
  </p:sldLayoutIdLst>
  <p:hf sldNum="0" hd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accent6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230182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marL="746107" indent="-227008" algn="l" rtl="0" eaLnBrk="1" fontAlgn="base" hangingPunct="1">
        <a:spcBef>
          <a:spcPct val="20000"/>
        </a:spcBef>
        <a:spcAft>
          <a:spcPct val="0"/>
        </a:spcAft>
        <a:buFont typeface="Segoe UI" panose="020B0502040204020203" pitchFamily="34" charset="0"/>
        <a:buChar char="—"/>
        <a:defRPr sz="16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2pPr>
      <a:lvl3pPr marL="1144559" indent="-230182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3pPr>
      <a:lvl4pPr marL="1598573" indent="-22700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▫"/>
        <a:defRPr>
          <a:solidFill>
            <a:schemeClr val="tx1"/>
          </a:solidFill>
          <a:latin typeface="+mn-lt"/>
          <a:ea typeface="ヒラギノ角ゴ Pro W3" charset="0"/>
        </a:defRPr>
      </a:lvl4pPr>
      <a:lvl5pPr marL="2058937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◦"/>
        <a:defRPr sz="1600">
          <a:solidFill>
            <a:schemeClr val="tx1"/>
          </a:solidFill>
          <a:latin typeface="+mn-lt"/>
          <a:ea typeface="ヒラギノ角ゴ Pro W3" charset="0"/>
        </a:defRPr>
      </a:lvl5pPr>
      <a:lvl6pPr marL="2285943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2743131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200320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3657509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424">
          <p15:clr>
            <a:srgbClr val="F26B43"/>
          </p15:clr>
        </p15:guide>
        <p15:guide id="3" pos="2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F99BE21-A378-FCF8-6AF8-E0F572A31C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4392682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44" imgH="343" progId="TCLayout.ActiveDocument.1">
                  <p:embed/>
                </p:oleObj>
              </mc:Choice>
              <mc:Fallback>
                <p:oleObj name="think-cell Slide" r:id="rId7" imgW="344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9777302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6" r:id="rId2"/>
    <p:sldLayoutId id="2147483845" r:id="rId3"/>
    <p:sldLayoutId id="2147483867" r:id="rId4"/>
  </p:sldLayoutIdLst>
  <p:hf sldNum="0" hd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accent6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230182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marL="746107" indent="-227008" algn="l" rtl="0" eaLnBrk="1" fontAlgn="base" hangingPunct="1">
        <a:spcBef>
          <a:spcPct val="20000"/>
        </a:spcBef>
        <a:spcAft>
          <a:spcPct val="0"/>
        </a:spcAft>
        <a:buFont typeface="Segoe UI" panose="020B0502040204020203" pitchFamily="34" charset="0"/>
        <a:buChar char="—"/>
        <a:defRPr sz="16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2pPr>
      <a:lvl3pPr marL="1144559" indent="-230182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3pPr>
      <a:lvl4pPr marL="1598573" indent="-22700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▫"/>
        <a:defRPr>
          <a:solidFill>
            <a:schemeClr val="tx1"/>
          </a:solidFill>
          <a:latin typeface="+mn-lt"/>
          <a:ea typeface="ヒラギノ角ゴ Pro W3" charset="0"/>
        </a:defRPr>
      </a:lvl4pPr>
      <a:lvl5pPr marL="2058937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◦"/>
        <a:defRPr sz="1600">
          <a:solidFill>
            <a:schemeClr val="tx1"/>
          </a:solidFill>
          <a:latin typeface="+mn-lt"/>
          <a:ea typeface="ヒラギノ角ゴ Pro W3" charset="0"/>
        </a:defRPr>
      </a:lvl5pPr>
      <a:lvl6pPr marL="2285943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2743131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200320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3657509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424">
          <p15:clr>
            <a:srgbClr val="F26B43"/>
          </p15:clr>
        </p15:guide>
        <p15:guide id="3" pos="256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accent6">
            <a:lumMod val="50000"/>
            <a:lumOff val="5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B6F5CB16-BF4E-3619-1DB3-A53A13DD9D3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52489858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3" progId="TCLayout.ActiveDocument.1">
                  <p:embed/>
                </p:oleObj>
              </mc:Choice>
              <mc:Fallback>
                <p:oleObj name="think-cell Slide" r:id="rId8" imgW="344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56457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3" r:id="rId1"/>
    <p:sldLayoutId id="2147483863" r:id="rId2"/>
    <p:sldLayoutId id="2147483865" r:id="rId3"/>
    <p:sldLayoutId id="2147483891" r:id="rId4"/>
    <p:sldLayoutId id="2147483926" r:id="rId5"/>
  </p:sldLayoutIdLst>
  <p:hf sldNum="0" hdr="0" dt="0"/>
  <p:txStyles>
    <p:titleStyle>
      <a:lvl1pPr algn="ctr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4000">
          <a:solidFill>
            <a:schemeClr val="accent6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>
          <a:solidFill>
            <a:srgbClr val="00338D"/>
          </a:solidFill>
          <a:latin typeface="Arial" charset="0"/>
          <a:ea typeface="ヒラギノ角ゴ Pro W3" charset="0"/>
          <a:cs typeface="ヒラギノ角ゴ Pro W3" charset="0"/>
        </a:defRPr>
      </a:lvl5pPr>
      <a:lvl6pPr marL="457189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6pPr>
      <a:lvl7pPr marL="914377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7pPr>
      <a:lvl8pPr marL="1371566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8pPr>
      <a:lvl9pPr marL="1828754"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2"/>
          </a:solidFill>
          <a:latin typeface="Arial" charset="0"/>
        </a:defRPr>
      </a:lvl9pPr>
    </p:titleStyle>
    <p:bodyStyle>
      <a:lvl1pPr marL="230182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•"/>
        <a:defRPr sz="18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1pPr>
      <a:lvl2pPr marL="746107" indent="-227008" algn="l" rtl="0" eaLnBrk="1" fontAlgn="base" hangingPunct="1">
        <a:spcBef>
          <a:spcPct val="20000"/>
        </a:spcBef>
        <a:spcAft>
          <a:spcPct val="0"/>
        </a:spcAft>
        <a:buFont typeface="Segoe UI" panose="020B0502040204020203" pitchFamily="34" charset="0"/>
        <a:buChar char="—"/>
        <a:defRPr sz="16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2pPr>
      <a:lvl3pPr marL="1144559" indent="-230182" algn="l" rtl="0" eaLnBrk="1" fontAlgn="base" hangingPunct="1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1400">
          <a:solidFill>
            <a:schemeClr val="tx1"/>
          </a:solidFill>
          <a:latin typeface="Arial" panose="020B0604020202020204" pitchFamily="34" charset="0"/>
          <a:ea typeface="ヒラギノ角ゴ Pro W3" charset="0"/>
          <a:cs typeface="Arial" panose="020B0604020202020204" pitchFamily="34" charset="0"/>
        </a:defRPr>
      </a:lvl3pPr>
      <a:lvl4pPr marL="1598573" indent="-227008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▫"/>
        <a:defRPr>
          <a:solidFill>
            <a:schemeClr val="tx1"/>
          </a:solidFill>
          <a:latin typeface="+mn-lt"/>
          <a:ea typeface="ヒラギノ角ゴ Pro W3" charset="0"/>
        </a:defRPr>
      </a:lvl4pPr>
      <a:lvl5pPr marL="2058937" indent="-230182" algn="l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◦"/>
        <a:defRPr sz="1600">
          <a:solidFill>
            <a:schemeClr val="tx1"/>
          </a:solidFill>
          <a:latin typeface="+mn-lt"/>
          <a:ea typeface="ヒラギノ角ゴ Pro W3" charset="0"/>
        </a:defRPr>
      </a:lvl5pPr>
      <a:lvl6pPr marL="2285943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6pPr>
      <a:lvl7pPr marL="2743131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7pPr>
      <a:lvl8pPr marL="3200320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8pPr>
      <a:lvl9pPr marL="3657509" algn="l" rtl="0" eaLnBrk="1" fontAlgn="base" hangingPunct="1">
        <a:spcBef>
          <a:spcPct val="20000"/>
        </a:spcBef>
        <a:spcAft>
          <a:spcPct val="0"/>
        </a:spcAft>
        <a:buChar char="»"/>
        <a:defRPr sz="24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2" pos="7424">
          <p15:clr>
            <a:srgbClr val="F26B43"/>
          </p15:clr>
        </p15:guide>
        <p15:guide id="3" pos="256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D7E4735-8EB6-AEC1-162D-055CED904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99814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5" imgW="479" imgH="478" progId="TCLayout.ActiveDocument.1">
                  <p:embed/>
                </p:oleObj>
              </mc:Choice>
              <mc:Fallback>
                <p:oleObj name="think-cell Slide" r:id="rId15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D7E4735-8EB6-AEC1-162D-055CED904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ackground - Solid">
            <a:extLst>
              <a:ext uri="{FF2B5EF4-FFF2-40B4-BE49-F238E27FC236}">
                <a16:creationId xmlns:a16="http://schemas.microsoft.com/office/drawing/2014/main" id="{E1FF3288-A94F-1966-840A-88F80E4B73F8}"/>
              </a:ext>
            </a:extLst>
          </p:cNvPr>
          <p:cNvSpPr/>
          <p:nvPr userDrawn="1"/>
        </p:nvSpPr>
        <p:spPr>
          <a:xfrm>
            <a:off x="0" y="0"/>
            <a:ext cx="12188952" cy="114300"/>
          </a:xfrm>
          <a:prstGeom prst="rect">
            <a:avLst/>
          </a:prstGeom>
          <a:gradFill>
            <a:gsLst>
              <a:gs pos="0">
                <a:srgbClr val="0D2240"/>
              </a:gs>
              <a:gs pos="50000">
                <a:srgbClr val="00338D"/>
              </a:gs>
              <a:gs pos="99000">
                <a:srgbClr val="7A2582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alpha val="44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Grafik 5" descr="Ein Bild, das Text, Schrift, Logo, Symbol enthält.&#10;&#10;Automatisch generierte Beschreibung">
            <a:extLst>
              <a:ext uri="{FF2B5EF4-FFF2-40B4-BE49-F238E27FC236}">
                <a16:creationId xmlns:a16="http://schemas.microsoft.com/office/drawing/2014/main" id="{6F126407-7C65-A461-08E7-F1AE94DFF5C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screen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015" y="6287595"/>
            <a:ext cx="2044960" cy="430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97542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43" r:id="rId2"/>
    <p:sldLayoutId id="2147483942" r:id="rId3"/>
    <p:sldLayoutId id="2147483939" r:id="rId4"/>
    <p:sldLayoutId id="2147483940" r:id="rId5"/>
    <p:sldLayoutId id="2147483933" r:id="rId6"/>
    <p:sldLayoutId id="2147483934" r:id="rId7"/>
    <p:sldLayoutId id="2147483935" r:id="rId8"/>
    <p:sldLayoutId id="2147483936" r:id="rId9"/>
    <p:sldLayoutId id="2147483937" r:id="rId10"/>
    <p:sldLayoutId id="2147483938" r:id="rId11"/>
    <p:sldLayoutId id="2147483941" r:id="rId1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2">
          <p15:clr>
            <a:srgbClr val="F26B43"/>
          </p15:clr>
        </p15:guide>
        <p15:guide id="2" orient="horz" pos="938">
          <p15:clr>
            <a:srgbClr val="F26B43"/>
          </p15:clr>
        </p15:guide>
        <p15:guide id="3" pos="7404">
          <p15:clr>
            <a:srgbClr val="F26B43"/>
          </p15:clr>
        </p15:guide>
        <p15:guide id="4" orient="horz" pos="3870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8D7E4735-8EB6-AEC1-162D-055CED9044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99814048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9" imgH="478" progId="TCLayout.ActiveDocument.1">
                  <p:embed/>
                </p:oleObj>
              </mc:Choice>
              <mc:Fallback>
                <p:oleObj name="think-cell Slide" r:id="rId14" imgW="479" imgH="478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8D7E4735-8EB6-AEC1-162D-055CED9044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Background - Solid">
            <a:extLst>
              <a:ext uri="{FF2B5EF4-FFF2-40B4-BE49-F238E27FC236}">
                <a16:creationId xmlns:a16="http://schemas.microsoft.com/office/drawing/2014/main" id="{E1FF3288-A94F-1966-840A-88F80E4B73F8}"/>
              </a:ext>
            </a:extLst>
          </p:cNvPr>
          <p:cNvSpPr/>
          <p:nvPr userDrawn="1"/>
        </p:nvSpPr>
        <p:spPr>
          <a:xfrm>
            <a:off x="0" y="0"/>
            <a:ext cx="12188952" cy="114300"/>
          </a:xfrm>
          <a:prstGeom prst="rect">
            <a:avLst/>
          </a:prstGeom>
          <a:gradFill>
            <a:gsLst>
              <a:gs pos="0">
                <a:srgbClr val="0D2240"/>
              </a:gs>
              <a:gs pos="50000">
                <a:srgbClr val="00338D"/>
              </a:gs>
              <a:gs pos="99000">
                <a:srgbClr val="7A2582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alpha val="44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2" name="Grafik 5" descr="Ein Bild, das Text, Schrift, Logo, Symbol enthält.&#10;&#10;Automatisch generierte Beschreibung">
            <a:extLst>
              <a:ext uri="{FF2B5EF4-FFF2-40B4-BE49-F238E27FC236}">
                <a16:creationId xmlns:a16="http://schemas.microsoft.com/office/drawing/2014/main" id="{6F126407-7C65-A461-08E7-F1AE94DFF5C8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</a:blip>
          <a:stretch>
            <a:fillRect/>
          </a:stretch>
        </p:blipFill>
        <p:spPr>
          <a:xfrm>
            <a:off x="422015" y="6287595"/>
            <a:ext cx="2044960" cy="430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6971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5" r:id="rId1"/>
    <p:sldLayoutId id="2147483986" r:id="rId2"/>
    <p:sldLayoutId id="2147483987" r:id="rId3"/>
    <p:sldLayoutId id="2147483988" r:id="rId4"/>
    <p:sldLayoutId id="2147483989" r:id="rId5"/>
    <p:sldLayoutId id="2147483990" r:id="rId6"/>
    <p:sldLayoutId id="2147483991" r:id="rId7"/>
    <p:sldLayoutId id="2147483992" r:id="rId8"/>
    <p:sldLayoutId id="2147483993" r:id="rId9"/>
    <p:sldLayoutId id="2147483994" r:id="rId10"/>
    <p:sldLayoutId id="21474839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72">
          <p15:clr>
            <a:srgbClr val="F26B43"/>
          </p15:clr>
        </p15:guide>
        <p15:guide id="2" orient="horz" pos="938">
          <p15:clr>
            <a:srgbClr val="F26B43"/>
          </p15:clr>
        </p15:guide>
        <p15:guide id="3" pos="7404">
          <p15:clr>
            <a:srgbClr val="F26B43"/>
          </p15:clr>
        </p15:guide>
        <p15:guide id="4" orient="horz" pos="387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svg"/><Relationship Id="rId3" Type="http://schemas.openxmlformats.org/officeDocument/2006/relationships/image" Target="../media/image14.emf"/><Relationship Id="rId7" Type="http://schemas.openxmlformats.org/officeDocument/2006/relationships/image" Target="../media/image18.png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15.jpe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slideLayout" Target="../slideLayouts/slideLayout26.xml"/><Relationship Id="rId1" Type="http://schemas.openxmlformats.org/officeDocument/2006/relationships/tags" Target="../tags/tag29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8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sv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25.svg"/><Relationship Id="rId5" Type="http://schemas.openxmlformats.org/officeDocument/2006/relationships/image" Target="../media/image24.png"/><Relationship Id="rId4" Type="http://schemas.openxmlformats.org/officeDocument/2006/relationships/image" Target="../media/image2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9.svg"/><Relationship Id="rId3" Type="http://schemas.openxmlformats.org/officeDocument/2006/relationships/image" Target="../media/image29.jpeg"/><Relationship Id="rId7" Type="http://schemas.openxmlformats.org/officeDocument/2006/relationships/image" Target="../media/image33.svg"/><Relationship Id="rId12" Type="http://schemas.openxmlformats.org/officeDocument/2006/relationships/image" Target="../media/image38.png"/><Relationship Id="rId2" Type="http://schemas.openxmlformats.org/officeDocument/2006/relationships/image" Target="../media/image28.jpeg"/><Relationship Id="rId1" Type="http://schemas.openxmlformats.org/officeDocument/2006/relationships/slideLayout" Target="../slideLayouts/slideLayout26.xml"/><Relationship Id="rId6" Type="http://schemas.openxmlformats.org/officeDocument/2006/relationships/image" Target="../media/image32.png"/><Relationship Id="rId11" Type="http://schemas.openxmlformats.org/officeDocument/2006/relationships/image" Target="../media/image37.svg"/><Relationship Id="rId5" Type="http://schemas.openxmlformats.org/officeDocument/2006/relationships/image" Target="../media/image31.jpeg"/><Relationship Id="rId10" Type="http://schemas.openxmlformats.org/officeDocument/2006/relationships/image" Target="../media/image36.png"/><Relationship Id="rId4" Type="http://schemas.openxmlformats.org/officeDocument/2006/relationships/image" Target="../media/image30.jpeg"/><Relationship Id="rId9" Type="http://schemas.openxmlformats.org/officeDocument/2006/relationships/image" Target="../media/image35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png"/><Relationship Id="rId3" Type="http://schemas.openxmlformats.org/officeDocument/2006/relationships/image" Target="../media/image40.png"/><Relationship Id="rId7" Type="http://schemas.openxmlformats.org/officeDocument/2006/relationships/image" Target="../media/image44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8.xml"/><Relationship Id="rId6" Type="http://schemas.openxmlformats.org/officeDocument/2006/relationships/image" Target="../media/image43.jpeg"/><Relationship Id="rId5" Type="http://schemas.openxmlformats.org/officeDocument/2006/relationships/image" Target="../media/image42.png"/><Relationship Id="rId4" Type="http://schemas.openxmlformats.org/officeDocument/2006/relationships/image" Target="../media/image41.jpg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7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30.xml"/><Relationship Id="rId6" Type="http://schemas.openxmlformats.org/officeDocument/2006/relationships/oleObject" Target="../embeddings/oleObject29.bin"/><Relationship Id="rId5" Type="http://schemas.openxmlformats.org/officeDocument/2006/relationships/image" Target="../media/image46.jpg"/><Relationship Id="rId4" Type="http://schemas.openxmlformats.org/officeDocument/2006/relationships/hyperlink" Target="https://drive.google.com/file/d/1DdzApgas2vYozCG-q81Eoi3cGWMTdOUc/view?usp=sharing" TargetMode="External"/><Relationship Id="rId9" Type="http://schemas.openxmlformats.org/officeDocument/2006/relationships/image" Target="../media/image48.sv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sv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47.png"/><Relationship Id="rId2" Type="http://schemas.openxmlformats.org/officeDocument/2006/relationships/slideLayout" Target="../slideLayouts/slideLayout38.xml"/><Relationship Id="rId1" Type="http://schemas.openxmlformats.org/officeDocument/2006/relationships/tags" Target="../tags/tag3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image" Target="../media/image49.jp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7.xml"/><Relationship Id="rId4" Type="http://schemas.openxmlformats.org/officeDocument/2006/relationships/image" Target="../media/image5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A picture containing human face, person, person, collage&#10;&#10;Description automatically generated">
            <a:extLst>
              <a:ext uri="{FF2B5EF4-FFF2-40B4-BE49-F238E27FC236}">
                <a16:creationId xmlns:a16="http://schemas.microsoft.com/office/drawing/2014/main" id="{BE02F411-EE7C-C920-F266-52B86704C3A0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Background - Overlay">
            <a:extLst>
              <a:ext uri="{FF2B5EF4-FFF2-40B4-BE49-F238E27FC236}">
                <a16:creationId xmlns:a16="http://schemas.microsoft.com/office/drawing/2014/main" id="{1A2B87DA-7765-1EA3-3A34-7F69D66E4D2E}"/>
              </a:ext>
            </a:extLst>
          </p:cNvPr>
          <p:cNvSpPr/>
          <p:nvPr/>
        </p:nvSpPr>
        <p:spPr>
          <a:xfrm>
            <a:off x="-602541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rgbClr val="00338D">
                  <a:alpha val="90980"/>
                </a:srgbClr>
              </a:gs>
              <a:gs pos="100000">
                <a:srgbClr val="7A2582">
                  <a:alpha val="90980"/>
                </a:srgbClr>
              </a:gs>
            </a:gsLst>
            <a:lin ang="186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alpha val="44000"/>
                </a:prstClr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Graphic 2">
            <a:extLst>
              <a:ext uri="{FF2B5EF4-FFF2-40B4-BE49-F238E27FC236}">
                <a16:creationId xmlns:a16="http://schemas.microsoft.com/office/drawing/2014/main" id="{8E65F3F7-9899-5854-B17B-585345135148}"/>
              </a:ext>
            </a:extLst>
          </p:cNvPr>
          <p:cNvSpPr/>
          <p:nvPr/>
        </p:nvSpPr>
        <p:spPr>
          <a:xfrm>
            <a:off x="5907082" y="0"/>
            <a:ext cx="6858000" cy="6858000"/>
          </a:xfrm>
          <a:custGeom>
            <a:avLst/>
            <a:gdLst>
              <a:gd name="connsiteX0" fmla="*/ 2898529 w 6858000"/>
              <a:gd name="connsiteY0" fmla="*/ 6858000 h 6858000"/>
              <a:gd name="connsiteX1" fmla="*/ 6858000 w 6858000"/>
              <a:gd name="connsiteY1" fmla="*/ 0 h 6858000"/>
              <a:gd name="connsiteX2" fmla="*/ 3959471 w 6858000"/>
              <a:gd name="connsiteY2" fmla="*/ 0 h 6858000"/>
              <a:gd name="connsiteX3" fmla="*/ 0 w 6858000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6858000">
                <a:moveTo>
                  <a:pt x="2898529" y="6858000"/>
                </a:moveTo>
                <a:lnTo>
                  <a:pt x="6858000" y="0"/>
                </a:lnTo>
                <a:lnTo>
                  <a:pt x="3959471" y="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 w="793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ヒラギノ角ゴ Pro W3" pitchFamily="125" charset="-128"/>
              <a:cs typeface="+mn-cs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DCC2E7E7-F402-E3AE-D615-A8B24527B1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62105" y="425099"/>
            <a:ext cx="2204895" cy="2094650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CE38C422-DD5A-A493-89CB-82FF61874597}"/>
              </a:ext>
            </a:extLst>
          </p:cNvPr>
          <p:cNvSpPr txBox="1"/>
          <p:nvPr/>
        </p:nvSpPr>
        <p:spPr>
          <a:xfrm>
            <a:off x="138429" y="2794206"/>
            <a:ext cx="7691295" cy="30469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4400" b="1" dirty="0">
                <a:solidFill>
                  <a:srgbClr val="EBB700"/>
                </a:solidFill>
                <a:latin typeface="Arial"/>
              </a:rPr>
              <a:t>KDL 2024 in Hannover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dirty="0">
                <a:solidFill>
                  <a:srgbClr val="EBB700"/>
                </a:solidFill>
                <a:latin typeface="Arial"/>
              </a:rPr>
              <a:t>Workshop Lions Youth Exchange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2400" b="1" dirty="0">
              <a:solidFill>
                <a:srgbClr val="EBB700"/>
              </a:solidFill>
              <a:latin typeface="Arial"/>
            </a:endParaRP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de-DE" sz="2400" b="1" dirty="0">
                <a:solidFill>
                  <a:srgbClr val="EBB700"/>
                </a:solidFill>
                <a:latin typeface="Arial"/>
              </a:rPr>
              <a:t>Lions bewegen - Mobilität als Schlüssel für die Entwicklung und Bildung junger Menschen</a:t>
            </a:r>
          </a:p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endParaRPr lang="de-DE" sz="4800" b="1" dirty="0">
              <a:solidFill>
                <a:srgbClr val="EBB700"/>
              </a:solidFill>
              <a:latin typeface="Arial"/>
            </a:endParaRPr>
          </a:p>
        </p:txBody>
      </p:sp>
      <p:pic>
        <p:nvPicPr>
          <p:cNvPr id="36" name="Picture 35" descr="A tree with green leaves&#10;&#10;Description automatically generated">
            <a:extLst>
              <a:ext uri="{FF2B5EF4-FFF2-40B4-BE49-F238E27FC236}">
                <a16:creationId xmlns:a16="http://schemas.microsoft.com/office/drawing/2014/main" id="{2A87AD52-5E4A-BA08-F3EA-29DFC5DBC15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88965" y="0"/>
            <a:ext cx="5903037" cy="6858000"/>
          </a:xfrm>
          <a:custGeom>
            <a:avLst/>
            <a:gdLst>
              <a:gd name="connsiteX0" fmla="*/ 3959470 w 5903037"/>
              <a:gd name="connsiteY0" fmla="*/ 0 h 6858000"/>
              <a:gd name="connsiteX1" fmla="*/ 5903037 w 5903037"/>
              <a:gd name="connsiteY1" fmla="*/ 0 h 6858000"/>
              <a:gd name="connsiteX2" fmla="*/ 5903037 w 5903037"/>
              <a:gd name="connsiteY2" fmla="*/ 1654041 h 6858000"/>
              <a:gd name="connsiteX3" fmla="*/ 5890128 w 5903037"/>
              <a:gd name="connsiteY3" fmla="*/ 1676400 h 6858000"/>
              <a:gd name="connsiteX4" fmla="*/ 5903036 w 5903037"/>
              <a:gd name="connsiteY4" fmla="*/ 1676400 h 6858000"/>
              <a:gd name="connsiteX5" fmla="*/ 5903036 w 5903037"/>
              <a:gd name="connsiteY5" fmla="*/ 6858000 h 6858000"/>
              <a:gd name="connsiteX6" fmla="*/ 4743855 w 5903037"/>
              <a:gd name="connsiteY6" fmla="*/ 6858000 h 6858000"/>
              <a:gd name="connsiteX7" fmla="*/ 3236036 w 5903037"/>
              <a:gd name="connsiteY7" fmla="*/ 6858000 h 6858000"/>
              <a:gd name="connsiteX8" fmla="*/ 2898528 w 5903037"/>
              <a:gd name="connsiteY8" fmla="*/ 6858000 h 6858000"/>
              <a:gd name="connsiteX9" fmla="*/ 2076855 w 5903037"/>
              <a:gd name="connsiteY9" fmla="*/ 6858000 h 6858000"/>
              <a:gd name="connsiteX10" fmla="*/ 0 w 5903037"/>
              <a:gd name="connsiteY10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903037" h="6858000">
                <a:moveTo>
                  <a:pt x="3959470" y="0"/>
                </a:moveTo>
                <a:lnTo>
                  <a:pt x="5903037" y="0"/>
                </a:lnTo>
                <a:lnTo>
                  <a:pt x="5903037" y="1654041"/>
                </a:lnTo>
                <a:lnTo>
                  <a:pt x="5890128" y="1676400"/>
                </a:lnTo>
                <a:lnTo>
                  <a:pt x="5903036" y="1676400"/>
                </a:lnTo>
                <a:lnTo>
                  <a:pt x="5903036" y="6858000"/>
                </a:lnTo>
                <a:lnTo>
                  <a:pt x="4743855" y="6858000"/>
                </a:lnTo>
                <a:lnTo>
                  <a:pt x="3236036" y="6858000"/>
                </a:lnTo>
                <a:lnTo>
                  <a:pt x="2898528" y="6858000"/>
                </a:lnTo>
                <a:lnTo>
                  <a:pt x="2076855" y="6858000"/>
                </a:lnTo>
                <a:lnTo>
                  <a:pt x="0" y="6858000"/>
                </a:lnTo>
                <a:close/>
              </a:path>
            </a:pathLst>
          </a:custGeom>
        </p:spPr>
      </p:pic>
      <p:grpSp>
        <p:nvGrpSpPr>
          <p:cNvPr id="43" name="Group 42">
            <a:extLst>
              <a:ext uri="{FF2B5EF4-FFF2-40B4-BE49-F238E27FC236}">
                <a16:creationId xmlns:a16="http://schemas.microsoft.com/office/drawing/2014/main" id="{906E96AF-C9B7-FA73-1B02-717229709071}"/>
              </a:ext>
            </a:extLst>
          </p:cNvPr>
          <p:cNvGrpSpPr/>
          <p:nvPr/>
        </p:nvGrpSpPr>
        <p:grpSpPr>
          <a:xfrm>
            <a:off x="-8554" y="6116517"/>
            <a:ext cx="3007434" cy="436894"/>
            <a:chOff x="3755048" y="5473502"/>
            <a:chExt cx="3007434" cy="436894"/>
          </a:xfrm>
        </p:grpSpPr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AD84BB79-518F-716B-ACB6-73511C979E70}"/>
                </a:ext>
              </a:extLst>
            </p:cNvPr>
            <p:cNvSpPr/>
            <p:nvPr/>
          </p:nvSpPr>
          <p:spPr>
            <a:xfrm>
              <a:off x="3755048" y="5473502"/>
              <a:ext cx="745946" cy="436894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F8CD1C5-709A-2CA0-0125-F7585E0F1AAA}"/>
                </a:ext>
              </a:extLst>
            </p:cNvPr>
            <p:cNvSpPr txBox="1"/>
            <p:nvPr/>
          </p:nvSpPr>
          <p:spPr>
            <a:xfrm>
              <a:off x="4484527" y="5511643"/>
              <a:ext cx="2277955" cy="36061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600" dirty="0">
                  <a:solidFill>
                    <a:srgbClr val="FFFFFF"/>
                  </a:solidFill>
                  <a:latin typeface="Arial"/>
                </a:rPr>
                <a:t>yex-sp@lions.de</a:t>
              </a:r>
            </a:p>
          </p:txBody>
        </p:sp>
        <p:pic>
          <p:nvPicPr>
            <p:cNvPr id="40" name="Graphic 39" descr="Email with solid fill">
              <a:extLst>
                <a:ext uri="{FF2B5EF4-FFF2-40B4-BE49-F238E27FC236}">
                  <a16:creationId xmlns:a16="http://schemas.microsoft.com/office/drawing/2014/main" id="{430507B7-E95D-0860-0955-80760527DD61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3988726" y="5552654"/>
              <a:ext cx="278590" cy="278590"/>
            </a:xfrm>
            <a:prstGeom prst="rect">
              <a:avLst/>
            </a:prstGeom>
          </p:spPr>
        </p:pic>
      </p:grpSp>
      <p:grpSp>
        <p:nvGrpSpPr>
          <p:cNvPr id="44" name="Group 43">
            <a:extLst>
              <a:ext uri="{FF2B5EF4-FFF2-40B4-BE49-F238E27FC236}">
                <a16:creationId xmlns:a16="http://schemas.microsoft.com/office/drawing/2014/main" id="{D4590987-CAAF-0A1C-9A9C-AF0B6504E2ED}"/>
              </a:ext>
            </a:extLst>
          </p:cNvPr>
          <p:cNvGrpSpPr/>
          <p:nvPr/>
        </p:nvGrpSpPr>
        <p:grpSpPr>
          <a:xfrm>
            <a:off x="301989" y="5476475"/>
            <a:ext cx="4730022" cy="436894"/>
            <a:chOff x="602541" y="5473502"/>
            <a:chExt cx="4730022" cy="436894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8FB29345-E67D-7CFA-0D8A-D0AF116805CF}"/>
                </a:ext>
              </a:extLst>
            </p:cNvPr>
            <p:cNvSpPr/>
            <p:nvPr/>
          </p:nvSpPr>
          <p:spPr>
            <a:xfrm>
              <a:off x="602541" y="5473502"/>
              <a:ext cx="745946" cy="436894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01EB749B-2CB6-3E51-3819-80560BA10A3E}"/>
                </a:ext>
              </a:extLst>
            </p:cNvPr>
            <p:cNvSpPr txBox="1"/>
            <p:nvPr/>
          </p:nvSpPr>
          <p:spPr>
            <a:xfrm>
              <a:off x="1332020" y="5511643"/>
              <a:ext cx="4000543" cy="36061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fontAlgn="auto">
                <a:lnSpc>
                  <a:spcPct val="12000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de-DE" sz="1600" dirty="0">
                  <a:solidFill>
                    <a:srgbClr val="FFFFFF"/>
                  </a:solidFill>
                  <a:latin typeface="Arial"/>
                </a:rPr>
                <a:t>https://stiftung.lions.de/jugendaustausch/</a:t>
              </a:r>
            </a:p>
          </p:txBody>
        </p:sp>
        <p:pic>
          <p:nvPicPr>
            <p:cNvPr id="42" name="Graphic 41" descr="World with solid fill">
              <a:extLst>
                <a:ext uri="{FF2B5EF4-FFF2-40B4-BE49-F238E27FC236}">
                  <a16:creationId xmlns:a16="http://schemas.microsoft.com/office/drawing/2014/main" id="{FD5EEF89-52F7-003C-EFC2-DF742D213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836219" y="5552654"/>
              <a:ext cx="278590" cy="2785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0989850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2" presetClass="entr" presetSubtype="2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2" presetClass="entr" presetSubtype="2" decel="100000" fill="hold" grpId="0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9" presetID="2" presetClass="entr" presetSubtype="8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10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3" presetID="2" presetClass="entr" presetSubtype="8" decel="100000" fill="hold" grpId="0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10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7" presetID="2" presetClass="entr" presetSubtype="8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9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0" dur="10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1" presetID="2" presetClass="entr" presetSubtype="8" decel="10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3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4" dur="1000" fill="hold"/>
                                        <p:tgtEl>
                                          <p:spTgt spid="4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 animBg="1"/>
      <p:bldP spid="9" grpId="0" animBg="1"/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3" name="Group 52">
            <a:extLst>
              <a:ext uri="{FF2B5EF4-FFF2-40B4-BE49-F238E27FC236}">
                <a16:creationId xmlns:a16="http://schemas.microsoft.com/office/drawing/2014/main" id="{2A350AFD-CB0F-4AF5-4F00-972EC278C0B4}"/>
              </a:ext>
            </a:extLst>
          </p:cNvPr>
          <p:cNvGrpSpPr/>
          <p:nvPr/>
        </p:nvGrpSpPr>
        <p:grpSpPr>
          <a:xfrm>
            <a:off x="0" y="0"/>
            <a:ext cx="8729473" cy="6858000"/>
            <a:chOff x="0" y="0"/>
            <a:chExt cx="8729473" cy="6858000"/>
          </a:xfrm>
        </p:grpSpPr>
        <p:pic>
          <p:nvPicPr>
            <p:cNvPr id="52" name="Picture 51">
              <a:extLst>
                <a:ext uri="{FF2B5EF4-FFF2-40B4-BE49-F238E27FC236}">
                  <a16:creationId xmlns:a16="http://schemas.microsoft.com/office/drawing/2014/main" id="{9C50C5C2-AF48-A776-B4B6-C565F531E17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0" y="0"/>
              <a:ext cx="8729473" cy="6858000"/>
            </a:xfrm>
            <a:prstGeom prst="rect">
              <a:avLst/>
            </a:prstGeom>
          </p:spPr>
        </p:pic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8FFE141B-F22D-BF51-B141-807D703555E3}"/>
                </a:ext>
              </a:extLst>
            </p:cNvPr>
            <p:cNvSpPr/>
            <p:nvPr/>
          </p:nvSpPr>
          <p:spPr>
            <a:xfrm>
              <a:off x="0" y="0"/>
              <a:ext cx="8728804" cy="6857998"/>
            </a:xfrm>
            <a:custGeom>
              <a:avLst/>
              <a:gdLst>
                <a:gd name="connsiteX0" fmla="*/ 0 w 8728804"/>
                <a:gd name="connsiteY0" fmla="*/ 0 h 6857998"/>
                <a:gd name="connsiteX1" fmla="*/ 1496429 w 8728804"/>
                <a:gd name="connsiteY1" fmla="*/ 0 h 6857998"/>
                <a:gd name="connsiteX2" fmla="*/ 2571750 w 8728804"/>
                <a:gd name="connsiteY2" fmla="*/ 0 h 6857998"/>
                <a:gd name="connsiteX3" fmla="*/ 2593182 w 8728804"/>
                <a:gd name="connsiteY3" fmla="*/ 0 h 6857998"/>
                <a:gd name="connsiteX4" fmla="*/ 2928366 w 8728804"/>
                <a:gd name="connsiteY4" fmla="*/ 0 h 6857998"/>
                <a:gd name="connsiteX5" fmla="*/ 2962275 w 8728804"/>
                <a:gd name="connsiteY5" fmla="*/ 0 h 6857998"/>
                <a:gd name="connsiteX6" fmla="*/ 4068179 w 8728804"/>
                <a:gd name="connsiteY6" fmla="*/ 0 h 6857998"/>
                <a:gd name="connsiteX7" fmla="*/ 4089611 w 8728804"/>
                <a:gd name="connsiteY7" fmla="*/ 0 h 6857998"/>
                <a:gd name="connsiteX8" fmla="*/ 4424795 w 8728804"/>
                <a:gd name="connsiteY8" fmla="*/ 0 h 6857998"/>
                <a:gd name="connsiteX9" fmla="*/ 4458704 w 8728804"/>
                <a:gd name="connsiteY9" fmla="*/ 0 h 6857998"/>
                <a:gd name="connsiteX10" fmla="*/ 7232375 w 8728804"/>
                <a:gd name="connsiteY10" fmla="*/ 0 h 6857998"/>
                <a:gd name="connsiteX11" fmla="*/ 8728804 w 8728804"/>
                <a:gd name="connsiteY11" fmla="*/ 0 h 6857998"/>
                <a:gd name="connsiteX12" fmla="*/ 4769334 w 8728804"/>
                <a:gd name="connsiteY12" fmla="*/ 6857998 h 6857998"/>
                <a:gd name="connsiteX13" fmla="*/ 4458704 w 8728804"/>
                <a:gd name="connsiteY13" fmla="*/ 6857998 h 6857998"/>
                <a:gd name="connsiteX14" fmla="*/ 3272905 w 8728804"/>
                <a:gd name="connsiteY14" fmla="*/ 6857998 h 6857998"/>
                <a:gd name="connsiteX15" fmla="*/ 2962275 w 8728804"/>
                <a:gd name="connsiteY15" fmla="*/ 6857998 h 6857998"/>
                <a:gd name="connsiteX16" fmla="*/ 1496429 w 8728804"/>
                <a:gd name="connsiteY16" fmla="*/ 6857998 h 6857998"/>
                <a:gd name="connsiteX17" fmla="*/ 0 w 8728804"/>
                <a:gd name="connsiteY17" fmla="*/ 6857998 h 6857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8728804" h="6857998">
                  <a:moveTo>
                    <a:pt x="0" y="0"/>
                  </a:moveTo>
                  <a:lnTo>
                    <a:pt x="1496429" y="0"/>
                  </a:lnTo>
                  <a:lnTo>
                    <a:pt x="2571750" y="0"/>
                  </a:lnTo>
                  <a:lnTo>
                    <a:pt x="2593182" y="0"/>
                  </a:lnTo>
                  <a:lnTo>
                    <a:pt x="2928366" y="0"/>
                  </a:lnTo>
                  <a:lnTo>
                    <a:pt x="2962275" y="0"/>
                  </a:lnTo>
                  <a:lnTo>
                    <a:pt x="4068179" y="0"/>
                  </a:lnTo>
                  <a:lnTo>
                    <a:pt x="4089611" y="0"/>
                  </a:lnTo>
                  <a:lnTo>
                    <a:pt x="4424795" y="0"/>
                  </a:lnTo>
                  <a:lnTo>
                    <a:pt x="4458704" y="0"/>
                  </a:lnTo>
                  <a:lnTo>
                    <a:pt x="7232375" y="0"/>
                  </a:lnTo>
                  <a:lnTo>
                    <a:pt x="8728804" y="0"/>
                  </a:lnTo>
                  <a:lnTo>
                    <a:pt x="4769334" y="6857998"/>
                  </a:lnTo>
                  <a:lnTo>
                    <a:pt x="4458704" y="6857998"/>
                  </a:lnTo>
                  <a:lnTo>
                    <a:pt x="3272905" y="6857998"/>
                  </a:lnTo>
                  <a:lnTo>
                    <a:pt x="2962275" y="6857998"/>
                  </a:lnTo>
                  <a:lnTo>
                    <a:pt x="1496429" y="6857998"/>
                  </a:lnTo>
                  <a:lnTo>
                    <a:pt x="0" y="6857998"/>
                  </a:lnTo>
                  <a:close/>
                </a:path>
              </a:pathLst>
            </a:custGeom>
            <a:gradFill flip="none" rotWithShape="0">
              <a:gsLst>
                <a:gs pos="0">
                  <a:srgbClr val="00338D">
                    <a:alpha val="90980"/>
                  </a:srgbClr>
                </a:gs>
                <a:gs pos="100000">
                  <a:srgbClr val="7A2582">
                    <a:alpha val="90980"/>
                  </a:srgbClr>
                </a:gs>
              </a:gsLst>
              <a:lin ang="186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94685" tIns="47343" rIns="94685" bIns="47343" rtlCol="0" anchor="ctr">
              <a:noAutofit/>
            </a:bodyPr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</a:pPr>
              <a:endParaRPr lang="en-US">
                <a:solidFill>
                  <a:prstClr val="white">
                    <a:alpha val="44000"/>
                  </a:prstClr>
                </a:solidFill>
                <a:latin typeface="Arial"/>
              </a:endParaRPr>
            </a:p>
          </p:txBody>
        </p:sp>
      </p:grpSp>
      <p:graphicFrame>
        <p:nvGraphicFramePr>
          <p:cNvPr id="79" name="think-cell data - do not delete" hidden="1">
            <a:extLst>
              <a:ext uri="{FF2B5EF4-FFF2-40B4-BE49-F238E27FC236}">
                <a16:creationId xmlns:a16="http://schemas.microsoft.com/office/drawing/2014/main" id="{FA37BFFB-1EA5-58B7-A532-E412BF4ED2A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4" imgH="343" progId="TCLayout.ActiveDocument.1">
                  <p:embed/>
                </p:oleObj>
              </mc:Choice>
              <mc:Fallback>
                <p:oleObj name="think-cell Slide" r:id="rId4" imgW="344" imgH="343" progId="TCLayout.ActiveDocument.1">
                  <p:embed/>
                  <p:pic>
                    <p:nvPicPr>
                      <p:cNvPr id="7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A37BFFB-1EA5-58B7-A532-E412BF4ED2A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Group 5">
            <a:extLst>
              <a:ext uri="{FF2B5EF4-FFF2-40B4-BE49-F238E27FC236}">
                <a16:creationId xmlns:a16="http://schemas.microsoft.com/office/drawing/2014/main" id="{08B98F00-38D7-9AC7-95C6-FCD06A164C9A}"/>
              </a:ext>
            </a:extLst>
          </p:cNvPr>
          <p:cNvGrpSpPr/>
          <p:nvPr/>
        </p:nvGrpSpPr>
        <p:grpSpPr>
          <a:xfrm>
            <a:off x="3421586" y="251954"/>
            <a:ext cx="7318248" cy="6858000"/>
            <a:chOff x="3041523" y="0"/>
            <a:chExt cx="7318248" cy="6858000"/>
          </a:xfrm>
        </p:grpSpPr>
        <p:sp>
          <p:nvSpPr>
            <p:cNvPr id="7" name="Graphic 2">
              <a:extLst>
                <a:ext uri="{FF2B5EF4-FFF2-40B4-BE49-F238E27FC236}">
                  <a16:creationId xmlns:a16="http://schemas.microsoft.com/office/drawing/2014/main" id="{B030B29D-2876-8703-2204-007D2BAEC882}"/>
                </a:ext>
              </a:extLst>
            </p:cNvPr>
            <p:cNvSpPr/>
            <p:nvPr/>
          </p:nvSpPr>
          <p:spPr>
            <a:xfrm>
              <a:off x="3041523" y="0"/>
              <a:ext cx="6858000" cy="6858000"/>
            </a:xfrm>
            <a:custGeom>
              <a:avLst/>
              <a:gdLst>
                <a:gd name="connsiteX0" fmla="*/ 2898529 w 6858000"/>
                <a:gd name="connsiteY0" fmla="*/ 6858000 h 6858000"/>
                <a:gd name="connsiteX1" fmla="*/ 6858000 w 6858000"/>
                <a:gd name="connsiteY1" fmla="*/ 0 h 6858000"/>
                <a:gd name="connsiteX2" fmla="*/ 3959471 w 6858000"/>
                <a:gd name="connsiteY2" fmla="*/ 0 h 6858000"/>
                <a:gd name="connsiteX3" fmla="*/ 0 w 6858000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6858000">
                  <a:moveTo>
                    <a:pt x="2898529" y="6858000"/>
                  </a:moveTo>
                  <a:lnTo>
                    <a:pt x="6858000" y="0"/>
                  </a:lnTo>
                  <a:lnTo>
                    <a:pt x="3959471" y="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793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" name="Graphic 2">
              <a:extLst>
                <a:ext uri="{FF2B5EF4-FFF2-40B4-BE49-F238E27FC236}">
                  <a16:creationId xmlns:a16="http://schemas.microsoft.com/office/drawing/2014/main" id="{F835BCA9-BAC6-6575-9D8D-2CB8EEFD9A7A}"/>
                </a:ext>
              </a:extLst>
            </p:cNvPr>
            <p:cNvSpPr/>
            <p:nvPr/>
          </p:nvSpPr>
          <p:spPr>
            <a:xfrm>
              <a:off x="3501771" y="0"/>
              <a:ext cx="6858000" cy="6858000"/>
            </a:xfrm>
            <a:custGeom>
              <a:avLst/>
              <a:gdLst>
                <a:gd name="connsiteX0" fmla="*/ 2898529 w 6858000"/>
                <a:gd name="connsiteY0" fmla="*/ 6858000 h 6858000"/>
                <a:gd name="connsiteX1" fmla="*/ 6858000 w 6858000"/>
                <a:gd name="connsiteY1" fmla="*/ 0 h 6858000"/>
                <a:gd name="connsiteX2" fmla="*/ 3959471 w 6858000"/>
                <a:gd name="connsiteY2" fmla="*/ 0 h 6858000"/>
                <a:gd name="connsiteX3" fmla="*/ 0 w 6858000"/>
                <a:gd name="connsiteY3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6858000">
                  <a:moveTo>
                    <a:pt x="2898529" y="6858000"/>
                  </a:moveTo>
                  <a:lnTo>
                    <a:pt x="6858000" y="0"/>
                  </a:lnTo>
                  <a:lnTo>
                    <a:pt x="3959471" y="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chemeClr val="bg1">
                <a:alpha val="10000"/>
              </a:schemeClr>
            </a:solidFill>
            <a:ln w="7938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47" name="Group 46">
            <a:extLst>
              <a:ext uri="{FF2B5EF4-FFF2-40B4-BE49-F238E27FC236}">
                <a16:creationId xmlns:a16="http://schemas.microsoft.com/office/drawing/2014/main" id="{33F885DF-3F1C-C698-45A0-FAD3E73E892F}"/>
              </a:ext>
            </a:extLst>
          </p:cNvPr>
          <p:cNvGrpSpPr/>
          <p:nvPr/>
        </p:nvGrpSpPr>
        <p:grpSpPr>
          <a:xfrm>
            <a:off x="536069" y="1437697"/>
            <a:ext cx="4996132" cy="2910630"/>
            <a:chOff x="323130" y="2340367"/>
            <a:chExt cx="4801320" cy="2800767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C242A716-CB8E-F93E-D18C-A289BF9ED606}"/>
                </a:ext>
              </a:extLst>
            </p:cNvPr>
            <p:cNvSpPr txBox="1"/>
            <p:nvPr/>
          </p:nvSpPr>
          <p:spPr>
            <a:xfrm>
              <a:off x="323130" y="2340367"/>
              <a:ext cx="4801320" cy="2800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" sz="4400" b="1" dirty="0">
                  <a:solidFill>
                    <a:schemeClr val="bg2"/>
                  </a:solidFill>
                  <a:latin typeface="Arial"/>
                  <a:ea typeface="+mn-ea"/>
                </a:rPr>
                <a:t>Der</a:t>
              </a:r>
            </a:p>
            <a:p>
              <a:pPr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r>
                <a:rPr lang="en" sz="4400" b="1" dirty="0">
                  <a:solidFill>
                    <a:schemeClr val="bg2"/>
                  </a:solidFill>
                  <a:latin typeface="Arial"/>
                  <a:ea typeface="+mn-ea"/>
                </a:rPr>
                <a:t>Internationale Jugendaustausch</a:t>
              </a:r>
              <a:endParaRPr lang="en-US" sz="4400" b="1" dirty="0">
                <a:solidFill>
                  <a:schemeClr val="bg2"/>
                </a:solidFill>
                <a:latin typeface="Arial"/>
                <a:ea typeface="+mn-ea"/>
              </a:endParaRPr>
            </a:p>
          </p:txBody>
        </p: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9AE52E41-87AE-B3DA-589B-44ABD9F55848}"/>
                </a:ext>
              </a:extLst>
            </p:cNvPr>
            <p:cNvCxnSpPr>
              <a:cxnSpLocks/>
            </p:cNvCxnSpPr>
            <p:nvPr/>
          </p:nvCxnSpPr>
          <p:spPr>
            <a:xfrm>
              <a:off x="429399" y="4590002"/>
              <a:ext cx="1949450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4" name="Group 53">
            <a:extLst>
              <a:ext uri="{FF2B5EF4-FFF2-40B4-BE49-F238E27FC236}">
                <a16:creationId xmlns:a16="http://schemas.microsoft.com/office/drawing/2014/main" id="{C241F2D2-6044-C4B9-B3B0-E620317E597F}"/>
              </a:ext>
            </a:extLst>
          </p:cNvPr>
          <p:cNvGrpSpPr/>
          <p:nvPr/>
        </p:nvGrpSpPr>
        <p:grpSpPr>
          <a:xfrm>
            <a:off x="7099439" y="519052"/>
            <a:ext cx="5499607" cy="1588154"/>
            <a:chOff x="6793301" y="799859"/>
            <a:chExt cx="5499607" cy="1588154"/>
          </a:xfrm>
        </p:grpSpPr>
        <p:sp>
          <p:nvSpPr>
            <p:cNvPr id="24" name="Parallelogram 23">
              <a:extLst>
                <a:ext uri="{FF2B5EF4-FFF2-40B4-BE49-F238E27FC236}">
                  <a16:creationId xmlns:a16="http://schemas.microsoft.com/office/drawing/2014/main" id="{6F9A1A20-0EFF-2781-B7DF-32A824FCFE28}"/>
                </a:ext>
              </a:extLst>
            </p:cNvPr>
            <p:cNvSpPr/>
            <p:nvPr/>
          </p:nvSpPr>
          <p:spPr>
            <a:xfrm>
              <a:off x="7400673" y="799859"/>
              <a:ext cx="4892235" cy="1588154"/>
            </a:xfrm>
            <a:prstGeom prst="parallelogram">
              <a:avLst>
                <a:gd name="adj" fmla="val 56566"/>
              </a:avLst>
            </a:prstGeom>
            <a:solidFill>
              <a:schemeClr val="bg2">
                <a:lumMod val="95000"/>
              </a:schemeClr>
            </a:solidFill>
            <a:ln w="29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BCCA543C-04F6-5018-AB9E-E8690465430B}"/>
                </a:ext>
              </a:extLst>
            </p:cNvPr>
            <p:cNvSpPr txBox="1"/>
            <p:nvPr/>
          </p:nvSpPr>
          <p:spPr>
            <a:xfrm>
              <a:off x="8625387" y="1359597"/>
              <a:ext cx="2728414" cy="3987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lvl="1" indent="-1349241" rtl="0" fontAlgn="b">
                <a:lnSpc>
                  <a:spcPct val="120000"/>
                </a:lnSpc>
                <a:defRPr/>
              </a:pPr>
              <a:r>
                <a:rPr lang="en" sz="2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  <a:ea typeface="+mn-ea"/>
                </a:rPr>
                <a:t>Ice-Breaker</a:t>
              </a:r>
            </a:p>
          </p:txBody>
        </p:sp>
        <p:sp>
          <p:nvSpPr>
            <p:cNvPr id="15" name="Parallelogram 14">
              <a:extLst>
                <a:ext uri="{FF2B5EF4-FFF2-40B4-BE49-F238E27FC236}">
                  <a16:creationId xmlns:a16="http://schemas.microsoft.com/office/drawing/2014/main" id="{5C457691-F3D7-4A59-9A51-AD6FBE64DFE5}"/>
                </a:ext>
              </a:extLst>
            </p:cNvPr>
            <p:cNvSpPr/>
            <p:nvPr/>
          </p:nvSpPr>
          <p:spPr>
            <a:xfrm>
              <a:off x="6793301" y="1034566"/>
              <a:ext cx="1782341" cy="1048827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" name="TextBox 4">
              <a:extLst>
                <a:ext uri="{FF2B5EF4-FFF2-40B4-BE49-F238E27FC236}">
                  <a16:creationId xmlns:a16="http://schemas.microsoft.com/office/drawing/2014/main" id="{30857105-7876-D90D-5736-FBEC61ACBB76}"/>
                </a:ext>
              </a:extLst>
            </p:cNvPr>
            <p:cNvSpPr txBox="1"/>
            <p:nvPr/>
          </p:nvSpPr>
          <p:spPr>
            <a:xfrm>
              <a:off x="7265371" y="1237065"/>
              <a:ext cx="838200" cy="6438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lvl="1" indent="-1349241" algn="ctr" fontAlgn="b">
                <a:lnSpc>
                  <a:spcPct val="120000"/>
                </a:lnSpc>
                <a:defRPr/>
              </a:pPr>
              <a:r>
                <a:rPr lang="de-DE" sz="3600" b="1" dirty="0">
                  <a:solidFill>
                    <a:schemeClr val="accent1"/>
                  </a:solidFill>
                  <a:latin typeface="Arial"/>
                  <a:ea typeface="+mn-ea"/>
                </a:rPr>
                <a:t>1.</a:t>
              </a:r>
            </a:p>
          </p:txBody>
        </p:sp>
      </p:grpSp>
      <p:grpSp>
        <p:nvGrpSpPr>
          <p:cNvPr id="55" name="Group 54">
            <a:extLst>
              <a:ext uri="{FF2B5EF4-FFF2-40B4-BE49-F238E27FC236}">
                <a16:creationId xmlns:a16="http://schemas.microsoft.com/office/drawing/2014/main" id="{C6BB0BC9-3717-6815-A4C7-645C218FF2F6}"/>
              </a:ext>
            </a:extLst>
          </p:cNvPr>
          <p:cNvGrpSpPr/>
          <p:nvPr/>
        </p:nvGrpSpPr>
        <p:grpSpPr>
          <a:xfrm>
            <a:off x="5255375" y="3860757"/>
            <a:ext cx="5474899" cy="1588154"/>
            <a:chOff x="5707451" y="2634923"/>
            <a:chExt cx="5474899" cy="1588154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F607D9D4-B47D-D5EC-EDAD-E3AD493CEDDB}"/>
                </a:ext>
              </a:extLst>
            </p:cNvPr>
            <p:cNvSpPr/>
            <p:nvPr/>
          </p:nvSpPr>
          <p:spPr>
            <a:xfrm>
              <a:off x="6290115" y="2634923"/>
              <a:ext cx="4892235" cy="1588154"/>
            </a:xfrm>
            <a:prstGeom prst="parallelogram">
              <a:avLst>
                <a:gd name="adj" fmla="val 56566"/>
              </a:avLst>
            </a:prstGeom>
            <a:solidFill>
              <a:schemeClr val="bg2">
                <a:lumMod val="95000"/>
              </a:schemeClr>
            </a:solidFill>
            <a:ln w="29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23" name="Parallelogram 22">
              <a:extLst>
                <a:ext uri="{FF2B5EF4-FFF2-40B4-BE49-F238E27FC236}">
                  <a16:creationId xmlns:a16="http://schemas.microsoft.com/office/drawing/2014/main" id="{CBAF7086-C294-1923-CA47-4B2364C2E46B}"/>
                </a:ext>
              </a:extLst>
            </p:cNvPr>
            <p:cNvSpPr/>
            <p:nvPr/>
          </p:nvSpPr>
          <p:spPr>
            <a:xfrm>
              <a:off x="5707451" y="2904587"/>
              <a:ext cx="1782341" cy="1048827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3A746D7-0C1A-97BF-F96B-76E367D9918F}"/>
                </a:ext>
              </a:extLst>
            </p:cNvPr>
            <p:cNvSpPr txBox="1"/>
            <p:nvPr/>
          </p:nvSpPr>
          <p:spPr>
            <a:xfrm>
              <a:off x="6179521" y="3107086"/>
              <a:ext cx="838200" cy="6438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lvl="1" indent="-1349241" algn="ctr" fontAlgn="b">
                <a:lnSpc>
                  <a:spcPct val="120000"/>
                </a:lnSpc>
                <a:defRPr/>
              </a:pPr>
              <a:r>
                <a:rPr lang="de-DE" sz="3600" b="1" dirty="0">
                  <a:solidFill>
                    <a:schemeClr val="accent1"/>
                  </a:solidFill>
                  <a:latin typeface="Arial"/>
                  <a:ea typeface="+mn-ea"/>
                </a:rPr>
                <a:t>3.</a:t>
              </a:r>
            </a:p>
          </p:txBody>
        </p:sp>
      </p:grpSp>
      <p:sp>
        <p:nvSpPr>
          <p:cNvPr id="48" name="Slide Number Placeholder 5">
            <a:extLst>
              <a:ext uri="{FF2B5EF4-FFF2-40B4-BE49-F238E27FC236}">
                <a16:creationId xmlns:a16="http://schemas.microsoft.com/office/drawing/2014/main" id="{8386559B-26F3-46D1-74A8-C276570701B0}"/>
              </a:ext>
            </a:extLst>
          </p:cNvPr>
          <p:cNvSpPr txBox="1">
            <a:spLocks/>
          </p:cNvSpPr>
          <p:nvPr/>
        </p:nvSpPr>
        <p:spPr>
          <a:xfrm>
            <a:off x="9141577" y="62992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3EB7FA4-D16D-498B-9843-862279835448}" type="slidenum">
              <a:rPr lang="en-GB" sz="1100" b="1" smtClean="0">
                <a:solidFill>
                  <a:schemeClr val="accent1"/>
                </a:solidFill>
              </a:rPr>
              <a:pPr/>
              <a:t>2</a:t>
            </a:fld>
            <a:endParaRPr lang="en-GB" sz="1100" b="1">
              <a:solidFill>
                <a:schemeClr val="accent1"/>
              </a:solidFill>
            </a:endParaRPr>
          </a:p>
        </p:txBody>
      </p:sp>
      <p:pic>
        <p:nvPicPr>
          <p:cNvPr id="2" name="Grafik 7" descr="Ein Bild, das Text, Schrift, Logo, Symbol enthält.&#10;&#10;Automatisch generierte Beschreibung">
            <a:extLst>
              <a:ext uri="{FF2B5EF4-FFF2-40B4-BE49-F238E27FC236}">
                <a16:creationId xmlns:a16="http://schemas.microsoft.com/office/drawing/2014/main" id="{415EEC94-8485-B066-8A62-C30C4E226E05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015" y="6285151"/>
            <a:ext cx="2053843" cy="432000"/>
          </a:xfrm>
          <a:prstGeom prst="rect">
            <a:avLst/>
          </a:prstGeom>
        </p:spPr>
      </p:pic>
      <p:grpSp>
        <p:nvGrpSpPr>
          <p:cNvPr id="4" name="Group 54">
            <a:extLst>
              <a:ext uri="{FF2B5EF4-FFF2-40B4-BE49-F238E27FC236}">
                <a16:creationId xmlns:a16="http://schemas.microsoft.com/office/drawing/2014/main" id="{8E458919-F425-D7CC-2F19-8863ABDB7FB8}"/>
              </a:ext>
            </a:extLst>
          </p:cNvPr>
          <p:cNvGrpSpPr/>
          <p:nvPr/>
        </p:nvGrpSpPr>
        <p:grpSpPr>
          <a:xfrm>
            <a:off x="6188989" y="2178726"/>
            <a:ext cx="5474899" cy="1588154"/>
            <a:chOff x="5707451" y="2634923"/>
            <a:chExt cx="5474899" cy="1588154"/>
          </a:xfrm>
        </p:grpSpPr>
        <p:sp>
          <p:nvSpPr>
            <p:cNvPr id="9" name="Parallelogram 10">
              <a:extLst>
                <a:ext uri="{FF2B5EF4-FFF2-40B4-BE49-F238E27FC236}">
                  <a16:creationId xmlns:a16="http://schemas.microsoft.com/office/drawing/2014/main" id="{28F25065-0A41-7CC9-E63D-87E112060CE7}"/>
                </a:ext>
              </a:extLst>
            </p:cNvPr>
            <p:cNvSpPr/>
            <p:nvPr/>
          </p:nvSpPr>
          <p:spPr>
            <a:xfrm>
              <a:off x="6290115" y="2634923"/>
              <a:ext cx="4892235" cy="1588154"/>
            </a:xfrm>
            <a:prstGeom prst="parallelogram">
              <a:avLst>
                <a:gd name="adj" fmla="val 56566"/>
              </a:avLst>
            </a:prstGeom>
            <a:solidFill>
              <a:schemeClr val="bg2">
                <a:lumMod val="95000"/>
              </a:schemeClr>
            </a:solidFill>
            <a:ln w="29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0" name="Parallelogram 22">
              <a:extLst>
                <a:ext uri="{FF2B5EF4-FFF2-40B4-BE49-F238E27FC236}">
                  <a16:creationId xmlns:a16="http://schemas.microsoft.com/office/drawing/2014/main" id="{48D5D08D-3DCF-831D-E589-795446BFAC91}"/>
                </a:ext>
              </a:extLst>
            </p:cNvPr>
            <p:cNvSpPr/>
            <p:nvPr/>
          </p:nvSpPr>
          <p:spPr>
            <a:xfrm>
              <a:off x="5707451" y="2904587"/>
              <a:ext cx="1782341" cy="1048827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" name="TextBox 31">
              <a:extLst>
                <a:ext uri="{FF2B5EF4-FFF2-40B4-BE49-F238E27FC236}">
                  <a16:creationId xmlns:a16="http://schemas.microsoft.com/office/drawing/2014/main" id="{7772B538-BC04-83EF-4204-94648503B932}"/>
                </a:ext>
              </a:extLst>
            </p:cNvPr>
            <p:cNvSpPr txBox="1"/>
            <p:nvPr/>
          </p:nvSpPr>
          <p:spPr>
            <a:xfrm>
              <a:off x="6179521" y="3107086"/>
              <a:ext cx="838200" cy="6438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lvl="1" indent="-1349241" algn="ctr" fontAlgn="b">
                <a:lnSpc>
                  <a:spcPct val="120000"/>
                </a:lnSpc>
                <a:defRPr/>
              </a:pPr>
              <a:r>
                <a:rPr lang="de-DE" sz="3600" b="1" dirty="0">
                  <a:solidFill>
                    <a:schemeClr val="accent1"/>
                  </a:solidFill>
                  <a:latin typeface="Arial"/>
                  <a:ea typeface="+mn-ea"/>
                </a:rPr>
                <a:t>2.</a:t>
              </a:r>
            </a:p>
          </p:txBody>
        </p:sp>
      </p:grpSp>
      <p:sp>
        <p:nvSpPr>
          <p:cNvPr id="13" name="TextBox 30">
            <a:extLst>
              <a:ext uri="{FF2B5EF4-FFF2-40B4-BE49-F238E27FC236}">
                <a16:creationId xmlns:a16="http://schemas.microsoft.com/office/drawing/2014/main" id="{4BD99351-FC56-0BC3-C599-0E18C17C6739}"/>
              </a:ext>
            </a:extLst>
          </p:cNvPr>
          <p:cNvSpPr txBox="1"/>
          <p:nvPr/>
        </p:nvSpPr>
        <p:spPr>
          <a:xfrm>
            <a:off x="7889748" y="2654757"/>
            <a:ext cx="2728414" cy="76809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1" indent="-1349241" rtl="0" fontAlgn="b">
              <a:lnSpc>
                <a:spcPct val="120000"/>
              </a:lnSpc>
              <a:defRPr/>
            </a:pPr>
            <a:r>
              <a:rPr lang="en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+mn-ea"/>
              </a:rPr>
              <a:t>Interview GRJA und KDJC 111-NH</a:t>
            </a:r>
          </a:p>
        </p:txBody>
      </p:sp>
      <p:grpSp>
        <p:nvGrpSpPr>
          <p:cNvPr id="14" name="Group 53">
            <a:extLst>
              <a:ext uri="{FF2B5EF4-FFF2-40B4-BE49-F238E27FC236}">
                <a16:creationId xmlns:a16="http://schemas.microsoft.com/office/drawing/2014/main" id="{1CF73191-18F8-5B1D-4E42-A68BD2FB298D}"/>
              </a:ext>
            </a:extLst>
          </p:cNvPr>
          <p:cNvGrpSpPr/>
          <p:nvPr/>
        </p:nvGrpSpPr>
        <p:grpSpPr>
          <a:xfrm>
            <a:off x="4364402" y="5534070"/>
            <a:ext cx="5360443" cy="1461869"/>
            <a:chOff x="6793301" y="799859"/>
            <a:chExt cx="5499607" cy="1588154"/>
          </a:xfrm>
        </p:grpSpPr>
        <p:sp>
          <p:nvSpPr>
            <p:cNvPr id="16" name="Parallelogram 23">
              <a:extLst>
                <a:ext uri="{FF2B5EF4-FFF2-40B4-BE49-F238E27FC236}">
                  <a16:creationId xmlns:a16="http://schemas.microsoft.com/office/drawing/2014/main" id="{C4471AC9-0881-7D88-6D9D-3C82D4FB93E1}"/>
                </a:ext>
              </a:extLst>
            </p:cNvPr>
            <p:cNvSpPr/>
            <p:nvPr/>
          </p:nvSpPr>
          <p:spPr>
            <a:xfrm>
              <a:off x="7400673" y="799859"/>
              <a:ext cx="4892235" cy="1588154"/>
            </a:xfrm>
            <a:prstGeom prst="parallelogram">
              <a:avLst>
                <a:gd name="adj" fmla="val 56566"/>
              </a:avLst>
            </a:prstGeom>
            <a:solidFill>
              <a:schemeClr val="bg2">
                <a:lumMod val="95000"/>
              </a:schemeClr>
            </a:solidFill>
            <a:ln w="291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fontAlgn="auto">
                <a:spcBef>
                  <a:spcPts val="0"/>
                </a:spcBef>
                <a:spcAft>
                  <a:spcPts val="0"/>
                </a:spcAft>
              </a:pPr>
              <a:endParaRPr lang="en-US" dirty="0">
                <a:solidFill>
                  <a:prstClr val="black"/>
                </a:solidFill>
                <a:latin typeface="Arial"/>
              </a:endParaRPr>
            </a:p>
          </p:txBody>
        </p:sp>
        <p:sp>
          <p:nvSpPr>
            <p:cNvPr id="17" name="TextBox 30">
              <a:extLst>
                <a:ext uri="{FF2B5EF4-FFF2-40B4-BE49-F238E27FC236}">
                  <a16:creationId xmlns:a16="http://schemas.microsoft.com/office/drawing/2014/main" id="{1371DDD1-60FA-0522-2976-FEB16A2A35C9}"/>
                </a:ext>
              </a:extLst>
            </p:cNvPr>
            <p:cNvSpPr txBox="1"/>
            <p:nvPr/>
          </p:nvSpPr>
          <p:spPr>
            <a:xfrm>
              <a:off x="8625387" y="1359597"/>
              <a:ext cx="2728414" cy="39876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lvl="1" indent="-1349241" rtl="0" fontAlgn="b">
                <a:lnSpc>
                  <a:spcPct val="120000"/>
                </a:lnSpc>
                <a:defRPr/>
              </a:pPr>
              <a:r>
                <a:rPr lang="de-DE" sz="2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  <a:ea typeface="+mn-ea"/>
                </a:rPr>
                <a:t>A</a:t>
              </a:r>
              <a:r>
                <a:rPr lang="en" sz="2000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  <a:ea typeface="+mn-ea"/>
                </a:rPr>
                <a:t>ppell und Dank</a:t>
              </a:r>
            </a:p>
          </p:txBody>
        </p:sp>
        <p:sp>
          <p:nvSpPr>
            <p:cNvPr id="18" name="Parallelogram 14">
              <a:extLst>
                <a:ext uri="{FF2B5EF4-FFF2-40B4-BE49-F238E27FC236}">
                  <a16:creationId xmlns:a16="http://schemas.microsoft.com/office/drawing/2014/main" id="{370BE6B6-F0C5-53F9-1E8F-29F6AA18611C}"/>
                </a:ext>
              </a:extLst>
            </p:cNvPr>
            <p:cNvSpPr/>
            <p:nvPr/>
          </p:nvSpPr>
          <p:spPr>
            <a:xfrm>
              <a:off x="6793301" y="1034566"/>
              <a:ext cx="1782341" cy="1048827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9" name="TextBox 4">
              <a:extLst>
                <a:ext uri="{FF2B5EF4-FFF2-40B4-BE49-F238E27FC236}">
                  <a16:creationId xmlns:a16="http://schemas.microsoft.com/office/drawing/2014/main" id="{626FBA02-C64B-C5C0-3588-C7D69AF97CAA}"/>
                </a:ext>
              </a:extLst>
            </p:cNvPr>
            <p:cNvSpPr txBox="1"/>
            <p:nvPr/>
          </p:nvSpPr>
          <p:spPr>
            <a:xfrm>
              <a:off x="7265371" y="1237065"/>
              <a:ext cx="838200" cy="643831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lvl="1" indent="-1349241" algn="ctr" fontAlgn="b">
                <a:lnSpc>
                  <a:spcPct val="120000"/>
                </a:lnSpc>
                <a:defRPr/>
              </a:pPr>
              <a:r>
                <a:rPr lang="de-DE" sz="3600" b="1" dirty="0">
                  <a:solidFill>
                    <a:schemeClr val="accent1"/>
                  </a:solidFill>
                  <a:latin typeface="Arial"/>
                  <a:ea typeface="+mn-ea"/>
                </a:rPr>
                <a:t>4.</a:t>
              </a:r>
            </a:p>
          </p:txBody>
        </p:sp>
      </p:grpSp>
      <p:sp>
        <p:nvSpPr>
          <p:cNvPr id="20" name="TextBox 30">
            <a:extLst>
              <a:ext uri="{FF2B5EF4-FFF2-40B4-BE49-F238E27FC236}">
                <a16:creationId xmlns:a16="http://schemas.microsoft.com/office/drawing/2014/main" id="{5BF323C8-9635-E9DE-947F-5CF9E683E199}"/>
              </a:ext>
            </a:extLst>
          </p:cNvPr>
          <p:cNvSpPr txBox="1"/>
          <p:nvPr/>
        </p:nvSpPr>
        <p:spPr>
          <a:xfrm>
            <a:off x="7054570" y="4455452"/>
            <a:ext cx="2728414" cy="3987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marL="0" lvl="1" indent="-1349241" rtl="0" fontAlgn="b">
              <a:lnSpc>
                <a:spcPct val="120000"/>
              </a:lnSpc>
              <a:defRPr/>
            </a:pPr>
            <a:r>
              <a:rPr lang="en" sz="2000" dirty="0">
                <a:solidFill>
                  <a:prstClr val="black">
                    <a:lumMod val="75000"/>
                    <a:lumOff val="25000"/>
                  </a:prstClr>
                </a:solidFill>
                <a:latin typeface="Arial"/>
                <a:ea typeface="+mn-ea"/>
              </a:rPr>
              <a:t>Bildliche Eindrücke</a:t>
            </a:r>
          </a:p>
        </p:txBody>
      </p:sp>
    </p:spTree>
    <p:extLst>
      <p:ext uri="{BB962C8B-B14F-4D97-AF65-F5344CB8AC3E}">
        <p14:creationId xmlns:p14="http://schemas.microsoft.com/office/powerpoint/2010/main" val="10887254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8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5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2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2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Graphic 9">
            <a:extLst>
              <a:ext uri="{FF2B5EF4-FFF2-40B4-BE49-F238E27FC236}">
                <a16:creationId xmlns:a16="http://schemas.microsoft.com/office/drawing/2014/main" id="{948B3BE3-B8FF-FEB8-19A9-97371E977E7D}"/>
              </a:ext>
            </a:extLst>
          </p:cNvPr>
          <p:cNvSpPr/>
          <p:nvPr/>
        </p:nvSpPr>
        <p:spPr>
          <a:xfrm>
            <a:off x="9092247" y="1489075"/>
            <a:ext cx="3099752" cy="5368925"/>
          </a:xfrm>
          <a:custGeom>
            <a:avLst/>
            <a:gdLst>
              <a:gd name="connsiteX0" fmla="*/ 0 w 1451806"/>
              <a:gd name="connsiteY0" fmla="*/ 2514600 h 2514600"/>
              <a:gd name="connsiteX1" fmla="*/ 1451806 w 1451806"/>
              <a:gd name="connsiteY1" fmla="*/ 0 h 2514600"/>
              <a:gd name="connsiteX2" fmla="*/ 1451806 w 1451806"/>
              <a:gd name="connsiteY2" fmla="*/ 251460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1806" h="2514600">
                <a:moveTo>
                  <a:pt x="0" y="2514600"/>
                </a:moveTo>
                <a:lnTo>
                  <a:pt x="1451806" y="0"/>
                </a:lnTo>
                <a:lnTo>
                  <a:pt x="1451806" y="2514600"/>
                </a:lnTo>
                <a:close/>
              </a:path>
            </a:pathLst>
          </a:custGeom>
          <a:solidFill>
            <a:schemeClr val="bg2">
              <a:lumMod val="95000"/>
            </a:schemeClr>
          </a:solidFill>
          <a:ln w="291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ヒラギノ角ゴ Pro W3" pitchFamily="125" charset="-128"/>
              <a:cs typeface="+mn-cs"/>
            </a:endParaRPr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47124D3A-FB6C-F192-A7BB-E586D79D55BB}"/>
              </a:ext>
            </a:extLst>
          </p:cNvPr>
          <p:cNvGrpSpPr/>
          <p:nvPr/>
        </p:nvGrpSpPr>
        <p:grpSpPr>
          <a:xfrm>
            <a:off x="1" y="1485877"/>
            <a:ext cx="6542792" cy="4657748"/>
            <a:chOff x="1" y="1485877"/>
            <a:chExt cx="6542792" cy="4657748"/>
          </a:xfrm>
        </p:grpSpPr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E2EE7D08-FB3F-6F04-551D-BC45E285F68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" y="1485877"/>
              <a:ext cx="6541575" cy="4657748"/>
            </a:xfrm>
            <a:prstGeom prst="rect">
              <a:avLst/>
            </a:prstGeom>
          </p:spPr>
        </p:pic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990089D7-DDBE-E783-7629-B88A1147D908}"/>
                </a:ext>
              </a:extLst>
            </p:cNvPr>
            <p:cNvSpPr/>
            <p:nvPr/>
          </p:nvSpPr>
          <p:spPr>
            <a:xfrm>
              <a:off x="1" y="1489077"/>
              <a:ext cx="6542792" cy="4654548"/>
            </a:xfrm>
            <a:custGeom>
              <a:avLst/>
              <a:gdLst>
                <a:gd name="connsiteX0" fmla="*/ 0 w 7546975"/>
                <a:gd name="connsiteY0" fmla="*/ 0 h 5368925"/>
                <a:gd name="connsiteX1" fmla="*/ 7546975 w 7546975"/>
                <a:gd name="connsiteY1" fmla="*/ 0 h 5368925"/>
                <a:gd name="connsiteX2" fmla="*/ 4509989 w 7546975"/>
                <a:gd name="connsiteY2" fmla="*/ 5368925 h 5368925"/>
                <a:gd name="connsiteX3" fmla="*/ 0 w 7546975"/>
                <a:gd name="connsiteY3" fmla="*/ 5368925 h 536892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7546975" h="5368925">
                  <a:moveTo>
                    <a:pt x="0" y="0"/>
                  </a:moveTo>
                  <a:lnTo>
                    <a:pt x="7546975" y="0"/>
                  </a:lnTo>
                  <a:lnTo>
                    <a:pt x="4509989" y="5368925"/>
                  </a:lnTo>
                  <a:lnTo>
                    <a:pt x="0" y="5368925"/>
                  </a:lnTo>
                  <a:close/>
                </a:path>
              </a:pathLst>
            </a:custGeom>
            <a:gradFill flip="none" rotWithShape="0">
              <a:gsLst>
                <a:gs pos="0">
                  <a:srgbClr val="00338D">
                    <a:alpha val="90980"/>
                  </a:srgbClr>
                </a:gs>
                <a:gs pos="33000">
                  <a:srgbClr val="7A2582">
                    <a:alpha val="0"/>
                  </a:srgbClr>
                </a:gs>
              </a:gsLst>
              <a:lin ang="186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44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5CE9B864-5156-6EAC-6ED4-72A1B1735C60}"/>
              </a:ext>
            </a:extLst>
          </p:cNvPr>
          <p:cNvGrpSpPr/>
          <p:nvPr/>
        </p:nvGrpSpPr>
        <p:grpSpPr>
          <a:xfrm>
            <a:off x="323130" y="407550"/>
            <a:ext cx="7797327" cy="616388"/>
            <a:chOff x="323130" y="407550"/>
            <a:chExt cx="7797327" cy="61638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2BB3F1A4-7662-1723-B04F-870666AE515A}"/>
                </a:ext>
              </a:extLst>
            </p:cNvPr>
            <p:cNvSpPr txBox="1"/>
            <p:nvPr/>
          </p:nvSpPr>
          <p:spPr>
            <a:xfrm>
              <a:off x="323130" y="407550"/>
              <a:ext cx="7797327" cy="4801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" sz="2800" b="1" dirty="0">
                  <a:solidFill>
                    <a:srgbClr val="00338D"/>
                  </a:solidFill>
                  <a:latin typeface="Arial"/>
                </a:rPr>
                <a:t>Der Internationale Jugendaustausch und Sie</a:t>
              </a:r>
              <a:endParaRPr kumimoji="0" lang="en" sz="28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53BD465B-BBF3-0755-AB53-DAE57DC2FE1D}"/>
                </a:ext>
              </a:extLst>
            </p:cNvPr>
            <p:cNvCxnSpPr>
              <a:cxnSpLocks/>
            </p:cNvCxnSpPr>
            <p:nvPr/>
          </p:nvCxnSpPr>
          <p:spPr>
            <a:xfrm>
              <a:off x="431800" y="1023938"/>
              <a:ext cx="7426325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1" name="Slide Number Placeholder 5">
            <a:extLst>
              <a:ext uri="{FF2B5EF4-FFF2-40B4-BE49-F238E27FC236}">
                <a16:creationId xmlns:a16="http://schemas.microsoft.com/office/drawing/2014/main" id="{B3A0D5AB-4524-D7C2-2EA5-6B7CF7B82D23}"/>
              </a:ext>
            </a:extLst>
          </p:cNvPr>
          <p:cNvSpPr txBox="1">
            <a:spLocks/>
          </p:cNvSpPr>
          <p:nvPr/>
        </p:nvSpPr>
        <p:spPr>
          <a:xfrm>
            <a:off x="9141577" y="629920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3EB7FA4-D16D-498B-9843-862279835448}" type="slidenum">
              <a:rPr kumimoji="0" lang="en-GB" sz="1100" b="1" i="0" u="none" strike="noStrike" kern="1200" cap="none" spc="0" normalizeH="0" baseline="0" noProof="0" smtClean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GB" sz="1100" b="1" i="0" u="none" strike="noStrike" kern="1200" cap="none" spc="0" normalizeH="0" baseline="0" noProof="0" dirty="0">
              <a:ln>
                <a:noFill/>
              </a:ln>
              <a:solidFill>
                <a:srgbClr val="00338D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D0179AD9-FFD9-0418-69CB-7227FB5EBD9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170051" y="319088"/>
            <a:ext cx="599155" cy="795337"/>
          </a:xfrm>
          <a:prstGeom prst="rect">
            <a:avLst/>
          </a:prstGeom>
        </p:spPr>
      </p:pic>
      <p:grpSp>
        <p:nvGrpSpPr>
          <p:cNvPr id="33" name="Group 32">
            <a:extLst>
              <a:ext uri="{FF2B5EF4-FFF2-40B4-BE49-F238E27FC236}">
                <a16:creationId xmlns:a16="http://schemas.microsoft.com/office/drawing/2014/main" id="{FE267812-67A6-C42D-4275-095238793805}"/>
              </a:ext>
            </a:extLst>
          </p:cNvPr>
          <p:cNvGrpSpPr/>
          <p:nvPr/>
        </p:nvGrpSpPr>
        <p:grpSpPr>
          <a:xfrm>
            <a:off x="4363303" y="1818894"/>
            <a:ext cx="11257697" cy="1929046"/>
            <a:chOff x="5686781" y="1746794"/>
            <a:chExt cx="5835824" cy="918399"/>
          </a:xfrm>
        </p:grpSpPr>
        <p:sp>
          <p:nvSpPr>
            <p:cNvPr id="63" name="Parallelogram 62">
              <a:extLst>
                <a:ext uri="{FF2B5EF4-FFF2-40B4-BE49-F238E27FC236}">
                  <a16:creationId xmlns:a16="http://schemas.microsoft.com/office/drawing/2014/main" id="{65842254-B5F3-2705-2D90-87585E93CD3F}"/>
                </a:ext>
              </a:extLst>
            </p:cNvPr>
            <p:cNvSpPr/>
            <p:nvPr/>
          </p:nvSpPr>
          <p:spPr>
            <a:xfrm>
              <a:off x="5900588" y="1746794"/>
              <a:ext cx="5622017" cy="918399"/>
            </a:xfrm>
            <a:prstGeom prst="parallelogram">
              <a:avLst>
                <a:gd name="adj" fmla="val 56566"/>
              </a:avLst>
            </a:prstGeom>
            <a:solidFill>
              <a:schemeClr val="bg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66" name="Parallelogram 65">
              <a:extLst>
                <a:ext uri="{FF2B5EF4-FFF2-40B4-BE49-F238E27FC236}">
                  <a16:creationId xmlns:a16="http://schemas.microsoft.com/office/drawing/2014/main" id="{9A2E9D2C-CDF6-E260-CB60-553BFBF10523}"/>
                </a:ext>
              </a:extLst>
            </p:cNvPr>
            <p:cNvSpPr/>
            <p:nvPr/>
          </p:nvSpPr>
          <p:spPr>
            <a:xfrm>
              <a:off x="5686781" y="1899222"/>
              <a:ext cx="1042632" cy="613542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65CF9D8D-8482-D105-6D0A-3B385A82FFB7}"/>
                </a:ext>
              </a:extLst>
            </p:cNvPr>
            <p:cNvSpPr txBox="1"/>
            <p:nvPr/>
          </p:nvSpPr>
          <p:spPr>
            <a:xfrm>
              <a:off x="6729413" y="1950757"/>
              <a:ext cx="4434009" cy="633343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1" indent="0" algn="l" defTabSz="422039" rtl="0" eaLnBrk="1" fontAlgn="b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338D"/>
                </a:buClr>
                <a:buSzTx/>
                <a:buFontTx/>
                <a:buNone/>
                <a:tabLst/>
                <a:defRPr/>
              </a:pPr>
              <a:r>
                <a:rPr lang="en" b="1" dirty="0">
                  <a:solidFill>
                    <a:prstClr val="black">
                      <a:lumMod val="75000"/>
                      <a:lumOff val="25000"/>
                    </a:prstClr>
                  </a:solidFill>
                  <a:latin typeface="Arial"/>
                </a:rPr>
                <a:t>Ihre bisherige Erfahrung</a:t>
              </a:r>
            </a:p>
            <a:p>
              <a:pPr marL="0" marR="0" lvl="1" indent="0" algn="l" defTabSz="422039" rtl="0" eaLnBrk="1" fontAlgn="b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338D"/>
                </a:buClr>
                <a:buSzTx/>
                <a:buFontTx/>
                <a:buNone/>
                <a:tabLst/>
                <a:defRPr/>
              </a:pPr>
              <a:r>
                <a:rPr kumimoji="0" lang="e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Wer im Publikum hatte bereits Berührungspunkte, etwa als Teilnehmer, Gastfamilie, Ausrichter… mit dem Internationalen Jugendaustausch?</a:t>
              </a:r>
            </a:p>
            <a:p>
              <a:pPr marL="0" marR="0" lvl="1" indent="0" algn="l" defTabSz="422039" rtl="0" eaLnBrk="1" fontAlgn="b" latinLnBrk="0" hangingPunct="1">
                <a:lnSpc>
                  <a:spcPct val="11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338D"/>
                </a:buClr>
                <a:buSzTx/>
                <a:buFontTx/>
                <a:buNone/>
                <a:tabLst/>
                <a:defRPr/>
              </a:pPr>
              <a:endParaRPr kumimoji="0" lang="e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C145D28F-1100-97D6-BF69-ADEE75239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rcRect/>
            <a:stretch/>
          </p:blipFill>
          <p:spPr>
            <a:xfrm>
              <a:off x="6009697" y="2007593"/>
              <a:ext cx="396800" cy="39680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29C8B562-F287-816C-2D36-F58A45800157}"/>
              </a:ext>
            </a:extLst>
          </p:cNvPr>
          <p:cNvGrpSpPr/>
          <p:nvPr/>
        </p:nvGrpSpPr>
        <p:grpSpPr>
          <a:xfrm>
            <a:off x="2876073" y="3884198"/>
            <a:ext cx="11678127" cy="1935646"/>
            <a:chOff x="5062893" y="2820180"/>
            <a:chExt cx="6035935" cy="918399"/>
          </a:xfrm>
        </p:grpSpPr>
        <p:sp>
          <p:nvSpPr>
            <p:cNvPr id="70" name="Parallelogram 69">
              <a:extLst>
                <a:ext uri="{FF2B5EF4-FFF2-40B4-BE49-F238E27FC236}">
                  <a16:creationId xmlns:a16="http://schemas.microsoft.com/office/drawing/2014/main" id="{12EFE220-ECAD-C3DD-DABB-BCBF29ED80DF}"/>
                </a:ext>
              </a:extLst>
            </p:cNvPr>
            <p:cNvSpPr/>
            <p:nvPr/>
          </p:nvSpPr>
          <p:spPr>
            <a:xfrm>
              <a:off x="5476811" y="2820180"/>
              <a:ext cx="5622017" cy="918399"/>
            </a:xfrm>
            <a:prstGeom prst="parallelogram">
              <a:avLst>
                <a:gd name="adj" fmla="val 56566"/>
              </a:avLst>
            </a:prstGeom>
            <a:solidFill>
              <a:schemeClr val="bg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71" name="Parallelogram 70">
              <a:extLst>
                <a:ext uri="{FF2B5EF4-FFF2-40B4-BE49-F238E27FC236}">
                  <a16:creationId xmlns:a16="http://schemas.microsoft.com/office/drawing/2014/main" id="{B1965131-9A58-7C96-C46C-D05110CC150F}"/>
                </a:ext>
              </a:extLst>
            </p:cNvPr>
            <p:cNvSpPr/>
            <p:nvPr/>
          </p:nvSpPr>
          <p:spPr>
            <a:xfrm>
              <a:off x="5062893" y="2979354"/>
              <a:ext cx="1042632" cy="613542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8C550407-5DDB-5116-5AA3-8F99F9057DFE}"/>
                </a:ext>
              </a:extLst>
            </p:cNvPr>
            <p:cNvSpPr txBox="1"/>
            <p:nvPr/>
          </p:nvSpPr>
          <p:spPr>
            <a:xfrm>
              <a:off x="6143503" y="3022844"/>
              <a:ext cx="3833933" cy="526559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1" indent="0" algn="l" defTabSz="422039" rtl="0" eaLnBrk="1" fontAlgn="b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338D"/>
                </a:buClr>
                <a:buSzTx/>
                <a:buFontTx/>
                <a:buNone/>
                <a:tabLst/>
                <a:defRPr/>
              </a:pPr>
              <a:r>
                <a:rPr kumimoji="0" lang="en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Ihre Meinung</a:t>
              </a:r>
            </a:p>
            <a:p>
              <a:pPr marL="0" marR="0" lvl="1" indent="0" algn="l" defTabSz="422039" rtl="0" eaLnBrk="1" fontAlgn="b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338D"/>
                </a:buClr>
                <a:buSzTx/>
                <a:buFontTx/>
                <a:buNone/>
                <a:tabLst/>
                <a:defRPr/>
              </a:pPr>
              <a:r>
                <a:rPr kumimoji="0" lang="en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>
                      <a:lumMod val="75000"/>
                      <a:lumOff val="25000"/>
                    </a:prstClr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Wie viele Jugendliche nehmen Ihrer Meinung nach weltweit jährlich am Internationalen Jugendaustausch? </a:t>
              </a:r>
            </a:p>
          </p:txBody>
        </p:sp>
        <p:pic>
          <p:nvPicPr>
            <p:cNvPr id="23" name="Graphic 22" descr="Social network with solid fill">
              <a:extLst>
                <a:ext uri="{FF2B5EF4-FFF2-40B4-BE49-F238E27FC236}">
                  <a16:creationId xmlns:a16="http://schemas.microsoft.com/office/drawing/2014/main" id="{5A2A2C7C-A641-82E2-F8DA-D43EA19F8B9E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385809" y="3087725"/>
              <a:ext cx="396800" cy="3968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496820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3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25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grpId="0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6" grpId="0" animBg="1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6" name="Group 75">
            <a:extLst>
              <a:ext uri="{FF2B5EF4-FFF2-40B4-BE49-F238E27FC236}">
                <a16:creationId xmlns:a16="http://schemas.microsoft.com/office/drawing/2014/main" id="{2F457C1B-9C2E-7C24-CC23-0A49244EF722}"/>
              </a:ext>
            </a:extLst>
          </p:cNvPr>
          <p:cNvGrpSpPr/>
          <p:nvPr/>
        </p:nvGrpSpPr>
        <p:grpSpPr>
          <a:xfrm>
            <a:off x="0" y="0"/>
            <a:ext cx="12856392" cy="3429001"/>
            <a:chOff x="0" y="0"/>
            <a:chExt cx="12856392" cy="3429001"/>
          </a:xfrm>
        </p:grpSpPr>
        <p:pic>
          <p:nvPicPr>
            <p:cNvPr id="71" name="Picture Placeholder 26" descr="A picture containing human face, person, person, collage&#10;&#10;Description automatically generated">
              <a:extLst>
                <a:ext uri="{FF2B5EF4-FFF2-40B4-BE49-F238E27FC236}">
                  <a16:creationId xmlns:a16="http://schemas.microsoft.com/office/drawing/2014/main" id="{EC3810AB-2983-E4A4-D004-1BBAC040D9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0" y="0"/>
              <a:ext cx="12192000" cy="3429000"/>
            </a:xfrm>
            <a:custGeom>
              <a:avLst/>
              <a:gdLst>
                <a:gd name="connsiteX0" fmla="*/ 0 w 12192000"/>
                <a:gd name="connsiteY0" fmla="*/ 0 h 3429000"/>
                <a:gd name="connsiteX1" fmla="*/ 12192000 w 12192000"/>
                <a:gd name="connsiteY1" fmla="*/ 0 h 3429000"/>
                <a:gd name="connsiteX2" fmla="*/ 12192000 w 12192000"/>
                <a:gd name="connsiteY2" fmla="*/ 89807 h 3429000"/>
                <a:gd name="connsiteX3" fmla="*/ 10303152 w 12192000"/>
                <a:gd name="connsiteY3" fmla="*/ 3429000 h 3429000"/>
                <a:gd name="connsiteX4" fmla="*/ 0 w 12192000"/>
                <a:gd name="connsiteY4" fmla="*/ 3429000 h 342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12192000" h="3429000">
                  <a:moveTo>
                    <a:pt x="0" y="0"/>
                  </a:moveTo>
                  <a:lnTo>
                    <a:pt x="12192000" y="0"/>
                  </a:lnTo>
                  <a:lnTo>
                    <a:pt x="12192000" y="89807"/>
                  </a:lnTo>
                  <a:lnTo>
                    <a:pt x="10303152" y="3429000"/>
                  </a:lnTo>
                  <a:lnTo>
                    <a:pt x="0" y="3429000"/>
                  </a:lnTo>
                  <a:close/>
                </a:path>
              </a:pathLst>
            </a:custGeom>
          </p:spPr>
        </p:pic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5C61B83E-E550-70B0-F409-054B19987A79}"/>
                </a:ext>
              </a:extLst>
            </p:cNvPr>
            <p:cNvSpPr/>
            <p:nvPr/>
          </p:nvSpPr>
          <p:spPr>
            <a:xfrm>
              <a:off x="0" y="0"/>
              <a:ext cx="12242800" cy="3429000"/>
            </a:xfrm>
            <a:custGeom>
              <a:avLst/>
              <a:gdLst>
                <a:gd name="connsiteX0" fmla="*/ 0 w 12242800"/>
                <a:gd name="connsiteY0" fmla="*/ 0 h 3429000"/>
                <a:gd name="connsiteX1" fmla="*/ 12242800 w 12242800"/>
                <a:gd name="connsiteY1" fmla="*/ 0 h 3429000"/>
                <a:gd name="connsiteX2" fmla="*/ 10303152 w 12242800"/>
                <a:gd name="connsiteY2" fmla="*/ 3429000 h 3429000"/>
                <a:gd name="connsiteX3" fmla="*/ 0 w 12242800"/>
                <a:gd name="connsiteY3" fmla="*/ 3429000 h 3429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242800" h="3429000">
                  <a:moveTo>
                    <a:pt x="0" y="0"/>
                  </a:moveTo>
                  <a:lnTo>
                    <a:pt x="12242800" y="0"/>
                  </a:lnTo>
                  <a:lnTo>
                    <a:pt x="10303152" y="3429000"/>
                  </a:lnTo>
                  <a:lnTo>
                    <a:pt x="0" y="3429000"/>
                  </a:lnTo>
                  <a:close/>
                </a:path>
              </a:pathLst>
            </a:custGeom>
            <a:gradFill flip="none" rotWithShape="0">
              <a:gsLst>
                <a:gs pos="0">
                  <a:srgbClr val="00338D">
                    <a:alpha val="90980"/>
                  </a:srgbClr>
                </a:gs>
                <a:gs pos="100000">
                  <a:srgbClr val="7A2582">
                    <a:alpha val="90980"/>
                  </a:srgbClr>
                </a:gs>
              </a:gsLst>
              <a:lin ang="186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>
                    <a:alpha val="44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73" name="Group 72">
              <a:extLst>
                <a:ext uri="{FF2B5EF4-FFF2-40B4-BE49-F238E27FC236}">
                  <a16:creationId xmlns:a16="http://schemas.microsoft.com/office/drawing/2014/main" id="{335E47B7-EF76-2C88-BF09-3D4B110CF925}"/>
                </a:ext>
              </a:extLst>
            </p:cNvPr>
            <p:cNvGrpSpPr/>
            <p:nvPr/>
          </p:nvGrpSpPr>
          <p:grpSpPr>
            <a:xfrm>
              <a:off x="8986352" y="1"/>
              <a:ext cx="3870040" cy="3429000"/>
              <a:chOff x="10799225" y="-1"/>
              <a:chExt cx="2055630" cy="1821365"/>
            </a:xfrm>
          </p:grpSpPr>
          <p:sp>
            <p:nvSpPr>
              <p:cNvPr id="74" name="Graphic 2">
                <a:extLst>
                  <a:ext uri="{FF2B5EF4-FFF2-40B4-BE49-F238E27FC236}">
                    <a16:creationId xmlns:a16="http://schemas.microsoft.com/office/drawing/2014/main" id="{3775DB8C-36D7-8CA7-8817-045810EC970D}"/>
                  </a:ext>
                </a:extLst>
              </p:cNvPr>
              <p:cNvSpPr/>
              <p:nvPr/>
            </p:nvSpPr>
            <p:spPr>
              <a:xfrm>
                <a:off x="10799225" y="-1"/>
                <a:ext cx="1821365" cy="1821365"/>
              </a:xfrm>
              <a:custGeom>
                <a:avLst/>
                <a:gdLst>
                  <a:gd name="connsiteX0" fmla="*/ 2898529 w 6858000"/>
                  <a:gd name="connsiteY0" fmla="*/ 6858000 h 6858000"/>
                  <a:gd name="connsiteX1" fmla="*/ 6858000 w 6858000"/>
                  <a:gd name="connsiteY1" fmla="*/ 0 h 6858000"/>
                  <a:gd name="connsiteX2" fmla="*/ 3959471 w 6858000"/>
                  <a:gd name="connsiteY2" fmla="*/ 0 h 6858000"/>
                  <a:gd name="connsiteX3" fmla="*/ 0 w 6858000"/>
                  <a:gd name="connsiteY3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8000" h="6858000">
                    <a:moveTo>
                      <a:pt x="2898529" y="6858000"/>
                    </a:moveTo>
                    <a:lnTo>
                      <a:pt x="6858000" y="0"/>
                    </a:lnTo>
                    <a:lnTo>
                      <a:pt x="3959471" y="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 w="79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endParaRPr>
              </a:p>
            </p:txBody>
          </p:sp>
          <p:sp>
            <p:nvSpPr>
              <p:cNvPr id="75" name="Graphic 2">
                <a:extLst>
                  <a:ext uri="{FF2B5EF4-FFF2-40B4-BE49-F238E27FC236}">
                    <a16:creationId xmlns:a16="http://schemas.microsoft.com/office/drawing/2014/main" id="{B9DF2F21-97A1-5F91-DF71-ADE98198E000}"/>
                  </a:ext>
                </a:extLst>
              </p:cNvPr>
              <p:cNvSpPr/>
              <p:nvPr/>
            </p:nvSpPr>
            <p:spPr>
              <a:xfrm>
                <a:off x="11033490" y="-1"/>
                <a:ext cx="1821365" cy="1821365"/>
              </a:xfrm>
              <a:custGeom>
                <a:avLst/>
                <a:gdLst>
                  <a:gd name="connsiteX0" fmla="*/ 2898529 w 6858000"/>
                  <a:gd name="connsiteY0" fmla="*/ 6858000 h 6858000"/>
                  <a:gd name="connsiteX1" fmla="*/ 6858000 w 6858000"/>
                  <a:gd name="connsiteY1" fmla="*/ 0 h 6858000"/>
                  <a:gd name="connsiteX2" fmla="*/ 3959471 w 6858000"/>
                  <a:gd name="connsiteY2" fmla="*/ 0 h 6858000"/>
                  <a:gd name="connsiteX3" fmla="*/ 0 w 6858000"/>
                  <a:gd name="connsiteY3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8000" h="6858000">
                    <a:moveTo>
                      <a:pt x="2898529" y="6858000"/>
                    </a:moveTo>
                    <a:lnTo>
                      <a:pt x="6858000" y="0"/>
                    </a:lnTo>
                    <a:lnTo>
                      <a:pt x="3959471" y="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 w="79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endParaRPr>
              </a:p>
            </p:txBody>
          </p:sp>
        </p:grpSp>
      </p:grpSp>
      <p:grpSp>
        <p:nvGrpSpPr>
          <p:cNvPr id="90" name="Group 89">
            <a:extLst>
              <a:ext uri="{FF2B5EF4-FFF2-40B4-BE49-F238E27FC236}">
                <a16:creationId xmlns:a16="http://schemas.microsoft.com/office/drawing/2014/main" id="{2E2B1C23-6236-B82E-2F4A-46FC3C2BDEB2}"/>
              </a:ext>
            </a:extLst>
          </p:cNvPr>
          <p:cNvGrpSpPr/>
          <p:nvPr/>
        </p:nvGrpSpPr>
        <p:grpSpPr>
          <a:xfrm>
            <a:off x="323130" y="407550"/>
            <a:ext cx="5204367" cy="616388"/>
            <a:chOff x="323130" y="407550"/>
            <a:chExt cx="5204367" cy="61638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EFB91350-C91E-5123-8E1B-0B8AA165A241}"/>
                </a:ext>
              </a:extLst>
            </p:cNvPr>
            <p:cNvSpPr txBox="1"/>
            <p:nvPr/>
          </p:nvSpPr>
          <p:spPr>
            <a:xfrm>
              <a:off x="323130" y="407550"/>
              <a:ext cx="2773452" cy="4801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e-DE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Worum es geht</a:t>
              </a:r>
              <a:endParaRPr kumimoji="0" lang="en" sz="2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6CF51851-C048-3F2E-BC8C-F0633536636C}"/>
                </a:ext>
              </a:extLst>
            </p:cNvPr>
            <p:cNvCxnSpPr>
              <a:cxnSpLocks/>
            </p:cNvCxnSpPr>
            <p:nvPr/>
          </p:nvCxnSpPr>
          <p:spPr>
            <a:xfrm>
              <a:off x="431800" y="1023938"/>
              <a:ext cx="5095697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9" name="Group 8">
            <a:extLst>
              <a:ext uri="{FF2B5EF4-FFF2-40B4-BE49-F238E27FC236}">
                <a16:creationId xmlns:a16="http://schemas.microsoft.com/office/drawing/2014/main" id="{E7C14BD0-9296-66CE-58FF-A582D8CA6245}"/>
              </a:ext>
            </a:extLst>
          </p:cNvPr>
          <p:cNvGrpSpPr/>
          <p:nvPr/>
        </p:nvGrpSpPr>
        <p:grpSpPr>
          <a:xfrm>
            <a:off x="431800" y="3395430"/>
            <a:ext cx="11322050" cy="502333"/>
            <a:chOff x="2868092" y="3189947"/>
            <a:chExt cx="5593129" cy="502333"/>
          </a:xfrm>
        </p:grpSpPr>
        <p:sp>
          <p:nvSpPr>
            <p:cNvPr id="13" name="Rectangle: Rounded Corners 12">
              <a:extLst>
                <a:ext uri="{FF2B5EF4-FFF2-40B4-BE49-F238E27FC236}">
                  <a16:creationId xmlns:a16="http://schemas.microsoft.com/office/drawing/2014/main" id="{7D6A509F-887B-C0E2-9392-0B84F4AD5E52}"/>
                </a:ext>
              </a:extLst>
            </p:cNvPr>
            <p:cNvSpPr/>
            <p:nvPr/>
          </p:nvSpPr>
          <p:spPr>
            <a:xfrm>
              <a:off x="2868092" y="3189947"/>
              <a:ext cx="5593129" cy="502333"/>
            </a:xfrm>
            <a:prstGeom prst="roundRect">
              <a:avLst/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/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53C04D8C-E48E-CB8E-E466-F85710653371}"/>
                </a:ext>
              </a:extLst>
            </p:cNvPr>
            <p:cNvSpPr txBox="1"/>
            <p:nvPr/>
          </p:nvSpPr>
          <p:spPr>
            <a:xfrm>
              <a:off x="3412808" y="3271836"/>
              <a:ext cx="4503698" cy="338554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" sz="16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Ziele</a:t>
              </a:r>
              <a:endParaRPr kumimoji="0" lang="de-DE" sz="16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</p:grpSp>
      <p:pic>
        <p:nvPicPr>
          <p:cNvPr id="84" name="Picture 83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A0E957E7-D053-EB16-6520-0963C1AFB7D0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268"/>
          <a:stretch/>
        </p:blipFill>
        <p:spPr>
          <a:xfrm>
            <a:off x="6829336" y="0"/>
            <a:ext cx="5362665" cy="3246634"/>
          </a:xfrm>
          <a:custGeom>
            <a:avLst/>
            <a:gdLst>
              <a:gd name="connsiteX0" fmla="*/ 1657391 w 4839683"/>
              <a:gd name="connsiteY0" fmla="*/ 0 h 2930013"/>
              <a:gd name="connsiteX1" fmla="*/ 4839683 w 4839683"/>
              <a:gd name="connsiteY1" fmla="*/ 0 h 2930013"/>
              <a:gd name="connsiteX2" fmla="*/ 4839683 w 4839683"/>
              <a:gd name="connsiteY2" fmla="*/ 2930013 h 2930013"/>
              <a:gd name="connsiteX3" fmla="*/ 0 w 4839683"/>
              <a:gd name="connsiteY3" fmla="*/ 2930013 h 293001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839683" h="2930013">
                <a:moveTo>
                  <a:pt x="1657391" y="0"/>
                </a:moveTo>
                <a:lnTo>
                  <a:pt x="4839683" y="0"/>
                </a:lnTo>
                <a:lnTo>
                  <a:pt x="4839683" y="2930013"/>
                </a:lnTo>
                <a:lnTo>
                  <a:pt x="0" y="2930013"/>
                </a:lnTo>
                <a:close/>
              </a:path>
            </a:pathLst>
          </a:cu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2B4886B6-08CF-D382-7470-76CF09EEDB22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30242" y="1474199"/>
            <a:ext cx="4206978" cy="1772435"/>
          </a:xfrm>
          <a:custGeom>
            <a:avLst/>
            <a:gdLst>
              <a:gd name="connsiteX0" fmla="*/ 892753 w 3746069"/>
              <a:gd name="connsiteY0" fmla="*/ 0 h 1578250"/>
              <a:gd name="connsiteX1" fmla="*/ 3746069 w 3746069"/>
              <a:gd name="connsiteY1" fmla="*/ 0 h 1578250"/>
              <a:gd name="connsiteX2" fmla="*/ 2853316 w 3746069"/>
              <a:gd name="connsiteY2" fmla="*/ 1578250 h 1578250"/>
              <a:gd name="connsiteX3" fmla="*/ 0 w 3746069"/>
              <a:gd name="connsiteY3" fmla="*/ 1578249 h 157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46069" h="1578250">
                <a:moveTo>
                  <a:pt x="892753" y="0"/>
                </a:moveTo>
                <a:lnTo>
                  <a:pt x="3746069" y="0"/>
                </a:lnTo>
                <a:lnTo>
                  <a:pt x="2853316" y="1578250"/>
                </a:lnTo>
                <a:lnTo>
                  <a:pt x="0" y="1578249"/>
                </a:lnTo>
                <a:close/>
              </a:path>
            </a:pathLst>
          </a:custGeom>
        </p:spPr>
      </p:pic>
      <p:pic>
        <p:nvPicPr>
          <p:cNvPr id="88" name="Picture 87" descr="A group of men in yellow shirts&#10;&#10;Description automatically generated">
            <a:extLst>
              <a:ext uri="{FF2B5EF4-FFF2-40B4-BE49-F238E27FC236}">
                <a16:creationId xmlns:a16="http://schemas.microsoft.com/office/drawing/2014/main" id="{4F3DC1E3-4081-6489-FEC3-EDF88A951FC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99547" y="1474199"/>
            <a:ext cx="4206978" cy="1772435"/>
          </a:xfrm>
          <a:custGeom>
            <a:avLst/>
            <a:gdLst>
              <a:gd name="connsiteX0" fmla="*/ 892753 w 3746069"/>
              <a:gd name="connsiteY0" fmla="*/ 0 h 1578250"/>
              <a:gd name="connsiteX1" fmla="*/ 3746069 w 3746069"/>
              <a:gd name="connsiteY1" fmla="*/ 0 h 1578250"/>
              <a:gd name="connsiteX2" fmla="*/ 2853316 w 3746069"/>
              <a:gd name="connsiteY2" fmla="*/ 1578250 h 1578250"/>
              <a:gd name="connsiteX3" fmla="*/ 0 w 3746069"/>
              <a:gd name="connsiteY3" fmla="*/ 1578249 h 15782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746069" h="1578250">
                <a:moveTo>
                  <a:pt x="892753" y="0"/>
                </a:moveTo>
                <a:lnTo>
                  <a:pt x="3746069" y="0"/>
                </a:lnTo>
                <a:lnTo>
                  <a:pt x="2853316" y="1578250"/>
                </a:lnTo>
                <a:lnTo>
                  <a:pt x="0" y="1578249"/>
                </a:lnTo>
                <a:close/>
              </a:path>
            </a:pathLst>
          </a:cu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7F5E1173-6CE4-BF3E-D051-2EB7F2028D0E}"/>
              </a:ext>
            </a:extLst>
          </p:cNvPr>
          <p:cNvGrpSpPr/>
          <p:nvPr/>
        </p:nvGrpSpPr>
        <p:grpSpPr>
          <a:xfrm>
            <a:off x="3315020" y="4037743"/>
            <a:ext cx="2672391" cy="2113255"/>
            <a:chOff x="3315020" y="4037743"/>
            <a:chExt cx="2672391" cy="2113255"/>
          </a:xfrm>
        </p:grpSpPr>
        <p:sp>
          <p:nvSpPr>
            <p:cNvPr id="15" name="Rectangle: Rounded Corners 14">
              <a:extLst>
                <a:ext uri="{FF2B5EF4-FFF2-40B4-BE49-F238E27FC236}">
                  <a16:creationId xmlns:a16="http://schemas.microsoft.com/office/drawing/2014/main" id="{FECF07AE-060C-7DB1-939D-460457B2C971}"/>
                </a:ext>
              </a:extLst>
            </p:cNvPr>
            <p:cNvSpPr/>
            <p:nvPr/>
          </p:nvSpPr>
          <p:spPr>
            <a:xfrm>
              <a:off x="3315020" y="4037743"/>
              <a:ext cx="2672391" cy="2113255"/>
            </a:xfrm>
            <a:prstGeom prst="roundRect">
              <a:avLst>
                <a:gd name="adj" fmla="val 4091"/>
              </a:avLst>
            </a:prstGeom>
            <a:solidFill>
              <a:schemeClr val="bg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FA5DE62A-DE26-330E-32FD-BF3C4C96594F}"/>
                </a:ext>
              </a:extLst>
            </p:cNvPr>
            <p:cNvSpPr txBox="1"/>
            <p:nvPr/>
          </p:nvSpPr>
          <p:spPr>
            <a:xfrm>
              <a:off x="3388159" y="4885139"/>
              <a:ext cx="2526115" cy="49776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1" indent="0" algn="ctr" defTabSz="914400" rtl="0" eaLnBrk="1" fontAlgn="b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338D"/>
                </a:buClr>
                <a:buSzTx/>
                <a:buFontTx/>
                <a:buNone/>
                <a:tabLst/>
                <a:defRPr/>
              </a:pPr>
              <a:r>
                <a:rPr lang="de-DE" sz="1200" dirty="0"/>
                <a:t>Kompetenzentwicklung und Horizonterweiterung</a:t>
              </a:r>
              <a:endParaRPr kumimoji="0" lang="e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pic>
          <p:nvPicPr>
            <p:cNvPr id="23" name="Graphic 22" descr="Business Growth with solid fill">
              <a:extLst>
                <a:ext uri="{FF2B5EF4-FFF2-40B4-BE49-F238E27FC236}">
                  <a16:creationId xmlns:a16="http://schemas.microsoft.com/office/drawing/2014/main" id="{D628CCC8-7058-D4D6-5ACB-90970E03DCE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4309190" y="4141039"/>
              <a:ext cx="684050" cy="684050"/>
            </a:xfrm>
            <a:prstGeom prst="rect">
              <a:avLst/>
            </a:prstGeom>
          </p:spPr>
        </p:pic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8C1F54F8-2936-678D-70DD-2B189DDF1823}"/>
              </a:ext>
            </a:extLst>
          </p:cNvPr>
          <p:cNvGrpSpPr/>
          <p:nvPr/>
        </p:nvGrpSpPr>
        <p:grpSpPr>
          <a:xfrm>
            <a:off x="6198239" y="4037743"/>
            <a:ext cx="2672391" cy="2113255"/>
            <a:chOff x="6198239" y="4037743"/>
            <a:chExt cx="2672391" cy="2113255"/>
          </a:xfrm>
        </p:grpSpPr>
        <p:sp>
          <p:nvSpPr>
            <p:cNvPr id="16" name="Rectangle: Rounded Corners 15">
              <a:extLst>
                <a:ext uri="{FF2B5EF4-FFF2-40B4-BE49-F238E27FC236}">
                  <a16:creationId xmlns:a16="http://schemas.microsoft.com/office/drawing/2014/main" id="{90953892-168E-4599-1509-5F7803AD8D21}"/>
                </a:ext>
              </a:extLst>
            </p:cNvPr>
            <p:cNvSpPr/>
            <p:nvPr/>
          </p:nvSpPr>
          <p:spPr>
            <a:xfrm>
              <a:off x="6198239" y="4037743"/>
              <a:ext cx="2672391" cy="2113255"/>
            </a:xfrm>
            <a:prstGeom prst="roundRect">
              <a:avLst>
                <a:gd name="adj" fmla="val 4091"/>
              </a:avLst>
            </a:prstGeom>
            <a:solidFill>
              <a:schemeClr val="bg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2B482D7-D57A-77C4-1D7B-FDBE659A8EF3}"/>
                </a:ext>
              </a:extLst>
            </p:cNvPr>
            <p:cNvSpPr txBox="1"/>
            <p:nvPr/>
          </p:nvSpPr>
          <p:spPr>
            <a:xfrm>
              <a:off x="6271378" y="4885139"/>
              <a:ext cx="2526115" cy="497765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1" indent="0" algn="ctr" defTabSz="914400" rtl="0" eaLnBrk="1" fontAlgn="b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338D"/>
                </a:buClr>
                <a:buSzTx/>
                <a:buFontTx/>
                <a:buNone/>
                <a:tabLst/>
                <a:defRPr/>
              </a:pPr>
              <a:r>
                <a:rPr lang="de-DE" sz="1200" dirty="0"/>
                <a:t>Bekämpfung von Vorurteilen und Stereotypen</a:t>
              </a:r>
              <a:endParaRPr kumimoji="0" lang="e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pic>
          <p:nvPicPr>
            <p:cNvPr id="25" name="Graphic 24" descr="Customer review with solid fill">
              <a:extLst>
                <a:ext uri="{FF2B5EF4-FFF2-40B4-BE49-F238E27FC236}">
                  <a16:creationId xmlns:a16="http://schemas.microsoft.com/office/drawing/2014/main" id="{1B28FB46-F02D-4DAD-F421-08F444B6FB5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7192409" y="4141039"/>
              <a:ext cx="684050" cy="684050"/>
            </a:xfrm>
            <a:prstGeom prst="rect">
              <a:avLst/>
            </a:prstGeom>
          </p:spPr>
        </p:pic>
      </p:grpSp>
      <p:grpSp>
        <p:nvGrpSpPr>
          <p:cNvPr id="36" name="Group 35">
            <a:extLst>
              <a:ext uri="{FF2B5EF4-FFF2-40B4-BE49-F238E27FC236}">
                <a16:creationId xmlns:a16="http://schemas.microsoft.com/office/drawing/2014/main" id="{2A1E5D26-8588-E283-7530-3222BF5C4849}"/>
              </a:ext>
            </a:extLst>
          </p:cNvPr>
          <p:cNvGrpSpPr/>
          <p:nvPr/>
        </p:nvGrpSpPr>
        <p:grpSpPr>
          <a:xfrm>
            <a:off x="431802" y="4037743"/>
            <a:ext cx="2672391" cy="2113255"/>
            <a:chOff x="431802" y="4037743"/>
            <a:chExt cx="2672391" cy="2113255"/>
          </a:xfrm>
        </p:grpSpPr>
        <p:sp>
          <p:nvSpPr>
            <p:cNvPr id="12" name="Rectangle: Rounded Corners 11">
              <a:extLst>
                <a:ext uri="{FF2B5EF4-FFF2-40B4-BE49-F238E27FC236}">
                  <a16:creationId xmlns:a16="http://schemas.microsoft.com/office/drawing/2014/main" id="{94D0C37D-9DBE-BDDC-978D-F681CE3C8D7E}"/>
                </a:ext>
              </a:extLst>
            </p:cNvPr>
            <p:cNvSpPr/>
            <p:nvPr/>
          </p:nvSpPr>
          <p:spPr>
            <a:xfrm>
              <a:off x="431802" y="4037743"/>
              <a:ext cx="2672391" cy="2113255"/>
            </a:xfrm>
            <a:prstGeom prst="roundRect">
              <a:avLst>
                <a:gd name="adj" fmla="val 4091"/>
              </a:avLst>
            </a:prstGeom>
            <a:solidFill>
              <a:schemeClr val="bg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16B21D45-BA1F-A139-A124-B452EF595F47}"/>
                </a:ext>
              </a:extLst>
            </p:cNvPr>
            <p:cNvSpPr txBox="1"/>
            <p:nvPr/>
          </p:nvSpPr>
          <p:spPr>
            <a:xfrm>
              <a:off x="504940" y="4885139"/>
              <a:ext cx="2526115" cy="71936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1" indent="0" algn="ctr" defTabSz="914400" rtl="0" eaLnBrk="1" fontAlgn="b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338D"/>
                </a:buClr>
                <a:buSzTx/>
                <a:buFontTx/>
                <a:buNone/>
                <a:tabLst/>
                <a:defRPr/>
              </a:pPr>
              <a:r>
                <a:rPr lang="de-DE" sz="1200" dirty="0"/>
                <a:t>Förderung interkultureller Beziehungen und internationaler Kommunikation</a:t>
              </a:r>
              <a:endParaRPr kumimoji="0" lang="e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pic>
          <p:nvPicPr>
            <p:cNvPr id="27" name="Graphic 26" descr="Megaphone with solid fill">
              <a:extLst>
                <a:ext uri="{FF2B5EF4-FFF2-40B4-BE49-F238E27FC236}">
                  <a16:creationId xmlns:a16="http://schemas.microsoft.com/office/drawing/2014/main" id="{618E78A3-BA8F-F6A5-FFAA-761880842F90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1425972" y="4141039"/>
              <a:ext cx="684050" cy="684050"/>
            </a:xfrm>
            <a:prstGeom prst="rect">
              <a:avLst/>
            </a:prstGeom>
          </p:spPr>
        </p:pic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5E7408AD-2996-1E21-2AD1-32A1F1A93029}"/>
              </a:ext>
            </a:extLst>
          </p:cNvPr>
          <p:cNvGrpSpPr/>
          <p:nvPr/>
        </p:nvGrpSpPr>
        <p:grpSpPr>
          <a:xfrm>
            <a:off x="9081459" y="4037743"/>
            <a:ext cx="2672391" cy="2113255"/>
            <a:chOff x="9081459" y="4037743"/>
            <a:chExt cx="2672391" cy="2113255"/>
          </a:xfrm>
        </p:grpSpPr>
        <p:sp>
          <p:nvSpPr>
            <p:cNvPr id="17" name="Rectangle: Rounded Corners 16">
              <a:extLst>
                <a:ext uri="{FF2B5EF4-FFF2-40B4-BE49-F238E27FC236}">
                  <a16:creationId xmlns:a16="http://schemas.microsoft.com/office/drawing/2014/main" id="{B5BE7423-C04F-953B-03CD-6D25365F91E6}"/>
                </a:ext>
              </a:extLst>
            </p:cNvPr>
            <p:cNvSpPr/>
            <p:nvPr/>
          </p:nvSpPr>
          <p:spPr>
            <a:xfrm>
              <a:off x="9081459" y="4037743"/>
              <a:ext cx="2672391" cy="2113255"/>
            </a:xfrm>
            <a:prstGeom prst="roundRect">
              <a:avLst>
                <a:gd name="adj" fmla="val 4091"/>
              </a:avLst>
            </a:prstGeom>
            <a:solidFill>
              <a:schemeClr val="bg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BDD82938-D25B-AFBB-4D29-B886D189ADCB}"/>
                </a:ext>
              </a:extLst>
            </p:cNvPr>
            <p:cNvSpPr txBox="1"/>
            <p:nvPr/>
          </p:nvSpPr>
          <p:spPr>
            <a:xfrm>
              <a:off x="9154597" y="4885139"/>
              <a:ext cx="2526115" cy="1162562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lstStyle/>
            <a:p>
              <a:pPr marL="0" marR="0" lvl="1" indent="0" algn="ctr" defTabSz="914400" rtl="0" eaLnBrk="1" fontAlgn="b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600"/>
                </a:spcAft>
                <a:buClr>
                  <a:srgbClr val="00338D"/>
                </a:buClr>
                <a:buSzTx/>
                <a:buFontTx/>
                <a:buNone/>
                <a:tabLst/>
                <a:defRPr/>
              </a:pPr>
              <a:r>
                <a:rPr lang="de-DE" sz="1200" dirty="0"/>
                <a:t>Sensibilisierung für gesellschaftlich relevante Themen und Förderung des sozialen Engagements und Wohlbefindens junger Menschen</a:t>
              </a:r>
              <a:endParaRPr kumimoji="0" lang="en" sz="12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pic>
          <p:nvPicPr>
            <p:cNvPr id="29" name="Graphic 28" descr="Signal with solid fill">
              <a:extLst>
                <a:ext uri="{FF2B5EF4-FFF2-40B4-BE49-F238E27FC236}">
                  <a16:creationId xmlns:a16="http://schemas.microsoft.com/office/drawing/2014/main" id="{A2A95B11-C9F0-956E-1E6C-227ED802DA9F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10075629" y="4141039"/>
              <a:ext cx="684050" cy="68405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0961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7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8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1" presetID="2" presetClass="entr" presetSubtype="2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3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4" dur="1000" fill="hold"/>
                                        <p:tgtEl>
                                          <p:spTgt spid="8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2" presetClass="entr" presetSubtype="8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9" presetID="2" presetClass="entr" presetSubtype="8" decel="10000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10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3" presetID="2" presetClass="entr" presetSubtype="8" decel="100000" fill="hold" nodeType="withEffect">
                                  <p:stCondLst>
                                    <p:cond delay="125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5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6" dur="10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7" presetID="2" presetClass="entr" presetSubtype="8" decel="10000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1" presetID="2" presetClass="entr" presetSubtype="8" decel="100000" fill="hold" nodeType="withEffect">
                                  <p:stCondLst>
                                    <p:cond delay="175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1000" fill="hold"/>
                                        <p:tgtEl>
                                          <p:spTgt spid="3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4D1D2871-F5C9-87D2-0493-18B3C5A80BB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5419320" y="1083748"/>
            <a:ext cx="11206866" cy="4166916"/>
          </a:xfrm>
          <a:prstGeom prst="rect">
            <a:avLst/>
          </a:prstGeom>
        </p:spPr>
      </p:pic>
      <p:pic>
        <p:nvPicPr>
          <p:cNvPr id="13" name="Grafik 12" descr="Ein Bild, das Sport, Person, Tänzer, Tanz enthält.&#10;&#10;Automatisch generierte Beschreibung">
            <a:extLst>
              <a:ext uri="{FF2B5EF4-FFF2-40B4-BE49-F238E27FC236}">
                <a16:creationId xmlns:a16="http://schemas.microsoft.com/office/drawing/2014/main" id="{FF7F3AA7-51C9-171B-3E02-A9C7ADBD1C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28999" y="1089425"/>
            <a:ext cx="5491445" cy="4024980"/>
          </a:xfrm>
          <a:prstGeom prst="rect">
            <a:avLst/>
          </a:prstGeom>
        </p:spPr>
      </p:pic>
      <p:sp>
        <p:nvSpPr>
          <p:cNvPr id="19" name="Background - Solid">
            <a:extLst>
              <a:ext uri="{FF2B5EF4-FFF2-40B4-BE49-F238E27FC236}">
                <a16:creationId xmlns:a16="http://schemas.microsoft.com/office/drawing/2014/main" id="{E8619CEC-3BFB-30FA-BB9A-FE6FF23D9871}"/>
              </a:ext>
            </a:extLst>
          </p:cNvPr>
          <p:cNvSpPr/>
          <p:nvPr/>
        </p:nvSpPr>
        <p:spPr>
          <a:xfrm>
            <a:off x="0" y="0"/>
            <a:ext cx="12188952" cy="114300"/>
          </a:xfrm>
          <a:prstGeom prst="rect">
            <a:avLst/>
          </a:prstGeom>
          <a:gradFill>
            <a:gsLst>
              <a:gs pos="0">
                <a:srgbClr val="0D2240"/>
              </a:gs>
              <a:gs pos="50000">
                <a:srgbClr val="00338D"/>
              </a:gs>
              <a:gs pos="99000">
                <a:srgbClr val="7A2582"/>
              </a:gs>
            </a:gsLst>
            <a:lin ang="186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4685" tIns="47343" rIns="94685" bIns="47343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>
                  <a:alpha val="44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54" name="Group 53">
            <a:extLst>
              <a:ext uri="{FF2B5EF4-FFF2-40B4-BE49-F238E27FC236}">
                <a16:creationId xmlns:a16="http://schemas.microsoft.com/office/drawing/2014/main" id="{0E522FB3-42CE-EC86-939A-56E63CEE6303}"/>
              </a:ext>
            </a:extLst>
          </p:cNvPr>
          <p:cNvGrpSpPr/>
          <p:nvPr/>
        </p:nvGrpSpPr>
        <p:grpSpPr>
          <a:xfrm>
            <a:off x="323130" y="407550"/>
            <a:ext cx="8116324" cy="616388"/>
            <a:chOff x="323130" y="407550"/>
            <a:chExt cx="8116324" cy="61638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A18BD8E1-2910-9CE7-8BEF-5BC1C8833FE6}"/>
                </a:ext>
              </a:extLst>
            </p:cNvPr>
            <p:cNvSpPr txBox="1"/>
            <p:nvPr/>
          </p:nvSpPr>
          <p:spPr>
            <a:xfrm>
              <a:off x="323130" y="407550"/>
              <a:ext cx="8116324" cy="4801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Eindrücke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 </a:t>
              </a: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einiger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 Lions-</a:t>
              </a: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Jugendcamps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 in 2023</a:t>
              </a:r>
              <a:endPara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84C17D1E-7D66-87FF-4B2E-12F3F061D6A6}"/>
                </a:ext>
              </a:extLst>
            </p:cNvPr>
            <p:cNvCxnSpPr>
              <a:cxnSpLocks/>
            </p:cNvCxnSpPr>
            <p:nvPr/>
          </p:nvCxnSpPr>
          <p:spPr>
            <a:xfrm>
              <a:off x="431800" y="1023938"/>
              <a:ext cx="6854217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" name="Grafik 7" descr="Ein Bild, das Text, Schrift, Logo, Symbol enthält.&#10;&#10;Automatisch generierte Beschreibung">
            <a:extLst>
              <a:ext uri="{FF2B5EF4-FFF2-40B4-BE49-F238E27FC236}">
                <a16:creationId xmlns:a16="http://schemas.microsoft.com/office/drawing/2014/main" id="{AAA26D8E-F4D1-8C3E-5A31-4CF347FDEE56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22015" y="6285151"/>
            <a:ext cx="2053843" cy="432000"/>
          </a:xfrm>
          <a:prstGeom prst="rect">
            <a:avLst/>
          </a:prstGeom>
        </p:spPr>
      </p:pic>
      <p:pic>
        <p:nvPicPr>
          <p:cNvPr id="6" name="Picture 2" descr="Person, Berggipfel, Zu Erreichen, Berg, Leistung">
            <a:extLst>
              <a:ext uri="{FF2B5EF4-FFF2-40B4-BE49-F238E27FC236}">
                <a16:creationId xmlns:a16="http://schemas.microsoft.com/office/drawing/2014/main" id="{9414917D-75CE-8692-E9D0-46488A10DBB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60977" y="1104039"/>
            <a:ext cx="5738051" cy="40758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60" name="Group 59">
            <a:extLst>
              <a:ext uri="{FF2B5EF4-FFF2-40B4-BE49-F238E27FC236}">
                <a16:creationId xmlns:a16="http://schemas.microsoft.com/office/drawing/2014/main" id="{B59B7683-5D2F-212F-0031-2DC033D90DDB}"/>
              </a:ext>
            </a:extLst>
          </p:cNvPr>
          <p:cNvGrpSpPr/>
          <p:nvPr/>
        </p:nvGrpSpPr>
        <p:grpSpPr>
          <a:xfrm>
            <a:off x="-152400" y="5114405"/>
            <a:ext cx="12807329" cy="1803401"/>
            <a:chOff x="0" y="5054599"/>
            <a:chExt cx="12500946" cy="1803401"/>
          </a:xfrm>
        </p:grpSpPr>
        <p:pic>
          <p:nvPicPr>
            <p:cNvPr id="37" name="Picture Placeholder 26" descr="A picture containing human face, person, person, collage&#10;&#10;Description automatically generated">
              <a:extLst>
                <a:ext uri="{FF2B5EF4-FFF2-40B4-BE49-F238E27FC236}">
                  <a16:creationId xmlns:a16="http://schemas.microsoft.com/office/drawing/2014/main" id="{A55F0CDB-EA71-76DB-3AD3-681B18871298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36696" b="36696"/>
            <a:stretch/>
          </p:blipFill>
          <p:spPr>
            <a:xfrm>
              <a:off x="0" y="5054600"/>
              <a:ext cx="12052300" cy="1803400"/>
            </a:xfrm>
            <a:custGeom>
              <a:avLst/>
              <a:gdLst>
                <a:gd name="connsiteX0" fmla="*/ 0 w 12052301"/>
                <a:gd name="connsiteY0" fmla="*/ 0 h 1803400"/>
                <a:gd name="connsiteX1" fmla="*/ 12052301 w 12052301"/>
                <a:gd name="connsiteY1" fmla="*/ 0 h 1803400"/>
                <a:gd name="connsiteX2" fmla="*/ 11032190 w 12052301"/>
                <a:gd name="connsiteY2" fmla="*/ 1803400 h 1803400"/>
                <a:gd name="connsiteX3" fmla="*/ 0 w 12052301"/>
                <a:gd name="connsiteY3" fmla="*/ 1803400 h 180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2301" h="1803400">
                  <a:moveTo>
                    <a:pt x="0" y="0"/>
                  </a:moveTo>
                  <a:lnTo>
                    <a:pt x="12052301" y="0"/>
                  </a:lnTo>
                  <a:lnTo>
                    <a:pt x="11032190" y="1803400"/>
                  </a:lnTo>
                  <a:lnTo>
                    <a:pt x="0" y="1803400"/>
                  </a:lnTo>
                  <a:close/>
                </a:path>
              </a:pathLst>
            </a:custGeom>
          </p:spPr>
        </p:pic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BAD53F59-24B6-3B57-FAD7-7907BB4BB532}"/>
                </a:ext>
              </a:extLst>
            </p:cNvPr>
            <p:cNvSpPr/>
            <p:nvPr/>
          </p:nvSpPr>
          <p:spPr>
            <a:xfrm>
              <a:off x="0" y="5054600"/>
              <a:ext cx="12052301" cy="1803400"/>
            </a:xfrm>
            <a:custGeom>
              <a:avLst/>
              <a:gdLst>
                <a:gd name="connsiteX0" fmla="*/ 0 w 12052301"/>
                <a:gd name="connsiteY0" fmla="*/ 0 h 1803400"/>
                <a:gd name="connsiteX1" fmla="*/ 12052301 w 12052301"/>
                <a:gd name="connsiteY1" fmla="*/ 0 h 1803400"/>
                <a:gd name="connsiteX2" fmla="*/ 11032190 w 12052301"/>
                <a:gd name="connsiteY2" fmla="*/ 1803400 h 1803400"/>
                <a:gd name="connsiteX3" fmla="*/ 0 w 12052301"/>
                <a:gd name="connsiteY3" fmla="*/ 1803400 h 1803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2052301" h="1803400">
                  <a:moveTo>
                    <a:pt x="0" y="0"/>
                  </a:moveTo>
                  <a:lnTo>
                    <a:pt x="12052301" y="0"/>
                  </a:lnTo>
                  <a:lnTo>
                    <a:pt x="11032190" y="1803400"/>
                  </a:lnTo>
                  <a:lnTo>
                    <a:pt x="0" y="1803400"/>
                  </a:lnTo>
                  <a:close/>
                </a:path>
              </a:pathLst>
            </a:custGeom>
            <a:gradFill flip="none" rotWithShape="0">
              <a:gsLst>
                <a:gs pos="0">
                  <a:srgbClr val="00338D">
                    <a:alpha val="90980"/>
                  </a:srgbClr>
                </a:gs>
                <a:gs pos="100000">
                  <a:srgbClr val="7A2582">
                    <a:alpha val="90980"/>
                  </a:srgbClr>
                </a:gs>
              </a:gsLst>
              <a:lin ang="18600000" scaled="0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94685" tIns="47343" rIns="94685" bIns="47343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alpha val="44000"/>
                  </a:prstClr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grpSp>
          <p:nvGrpSpPr>
            <p:cNvPr id="40" name="Group 39">
              <a:extLst>
                <a:ext uri="{FF2B5EF4-FFF2-40B4-BE49-F238E27FC236}">
                  <a16:creationId xmlns:a16="http://schemas.microsoft.com/office/drawing/2014/main" id="{37165C46-AD30-A8FD-DFC7-0FD5AF75D19D}"/>
                </a:ext>
              </a:extLst>
            </p:cNvPr>
            <p:cNvGrpSpPr/>
            <p:nvPr/>
          </p:nvGrpSpPr>
          <p:grpSpPr>
            <a:xfrm>
              <a:off x="10455868" y="5054599"/>
              <a:ext cx="2045078" cy="1803400"/>
              <a:chOff x="3041523" y="0"/>
              <a:chExt cx="7777058" cy="6858000"/>
            </a:xfrm>
          </p:grpSpPr>
          <p:sp>
            <p:nvSpPr>
              <p:cNvPr id="41" name="Graphic 2">
                <a:extLst>
                  <a:ext uri="{FF2B5EF4-FFF2-40B4-BE49-F238E27FC236}">
                    <a16:creationId xmlns:a16="http://schemas.microsoft.com/office/drawing/2014/main" id="{5EDEA71F-DC83-559F-5F33-AFD641A3BD2F}"/>
                  </a:ext>
                </a:extLst>
              </p:cNvPr>
              <p:cNvSpPr/>
              <p:nvPr/>
            </p:nvSpPr>
            <p:spPr>
              <a:xfrm>
                <a:off x="3041523" y="0"/>
                <a:ext cx="6858000" cy="6858000"/>
              </a:xfrm>
              <a:custGeom>
                <a:avLst/>
                <a:gdLst>
                  <a:gd name="connsiteX0" fmla="*/ 2898529 w 6858000"/>
                  <a:gd name="connsiteY0" fmla="*/ 6858000 h 6858000"/>
                  <a:gd name="connsiteX1" fmla="*/ 6858000 w 6858000"/>
                  <a:gd name="connsiteY1" fmla="*/ 0 h 6858000"/>
                  <a:gd name="connsiteX2" fmla="*/ 3959471 w 6858000"/>
                  <a:gd name="connsiteY2" fmla="*/ 0 h 6858000"/>
                  <a:gd name="connsiteX3" fmla="*/ 0 w 6858000"/>
                  <a:gd name="connsiteY3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8000" h="6858000">
                    <a:moveTo>
                      <a:pt x="2898529" y="6858000"/>
                    </a:moveTo>
                    <a:lnTo>
                      <a:pt x="6858000" y="0"/>
                    </a:lnTo>
                    <a:lnTo>
                      <a:pt x="3959471" y="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 w="79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endParaRPr>
              </a:p>
            </p:txBody>
          </p:sp>
          <p:sp>
            <p:nvSpPr>
              <p:cNvPr id="43" name="Graphic 2">
                <a:extLst>
                  <a:ext uri="{FF2B5EF4-FFF2-40B4-BE49-F238E27FC236}">
                    <a16:creationId xmlns:a16="http://schemas.microsoft.com/office/drawing/2014/main" id="{EC5D50BC-F5AD-42CA-F050-CC334F2C26C3}"/>
                  </a:ext>
                </a:extLst>
              </p:cNvPr>
              <p:cNvSpPr/>
              <p:nvPr/>
            </p:nvSpPr>
            <p:spPr>
              <a:xfrm>
                <a:off x="3960580" y="0"/>
                <a:ext cx="6858001" cy="6858000"/>
              </a:xfrm>
              <a:custGeom>
                <a:avLst/>
                <a:gdLst>
                  <a:gd name="connsiteX0" fmla="*/ 2898529 w 6858000"/>
                  <a:gd name="connsiteY0" fmla="*/ 6858000 h 6858000"/>
                  <a:gd name="connsiteX1" fmla="*/ 6858000 w 6858000"/>
                  <a:gd name="connsiteY1" fmla="*/ 0 h 6858000"/>
                  <a:gd name="connsiteX2" fmla="*/ 3959471 w 6858000"/>
                  <a:gd name="connsiteY2" fmla="*/ 0 h 6858000"/>
                  <a:gd name="connsiteX3" fmla="*/ 0 w 6858000"/>
                  <a:gd name="connsiteY3" fmla="*/ 6858000 h 6858000"/>
                </a:gdLst>
                <a:ahLst/>
                <a:cxnLst>
                  <a:cxn ang="0">
                    <a:pos x="connsiteX0" y="connsiteY0"/>
                  </a:cxn>
                  <a:cxn ang="0">
                    <a:pos x="connsiteX1" y="connsiteY1"/>
                  </a:cxn>
                  <a:cxn ang="0">
                    <a:pos x="connsiteX2" y="connsiteY2"/>
                  </a:cxn>
                  <a:cxn ang="0">
                    <a:pos x="connsiteX3" y="connsiteY3"/>
                  </a:cxn>
                </a:cxnLst>
                <a:rect l="l" t="t" r="r" b="b"/>
                <a:pathLst>
                  <a:path w="6858000" h="6858000">
                    <a:moveTo>
                      <a:pt x="2898529" y="6858000"/>
                    </a:moveTo>
                    <a:lnTo>
                      <a:pt x="6858000" y="0"/>
                    </a:lnTo>
                    <a:lnTo>
                      <a:pt x="3959471" y="0"/>
                    </a:lnTo>
                    <a:lnTo>
                      <a:pt x="0" y="6858000"/>
                    </a:lnTo>
                    <a:close/>
                  </a:path>
                </a:pathLst>
              </a:custGeom>
              <a:solidFill>
                <a:schemeClr val="bg1">
                  <a:alpha val="10000"/>
                </a:schemeClr>
              </a:solidFill>
              <a:ln w="7938" cap="flat">
                <a:noFill/>
                <a:prstDash val="solid"/>
                <a:miter/>
              </a:ln>
            </p:spPr>
            <p:txBody>
              <a:bodyPr rtlCol="0" anchor="ctr"/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endParaRPr>
              </a:p>
            </p:txBody>
          </p:sp>
        </p:grpSp>
      </p:grpSp>
      <p:pic>
        <p:nvPicPr>
          <p:cNvPr id="7" name="Grafik 6">
            <a:extLst>
              <a:ext uri="{FF2B5EF4-FFF2-40B4-BE49-F238E27FC236}">
                <a16:creationId xmlns:a16="http://schemas.microsoft.com/office/drawing/2014/main" id="{34A2FF40-DC74-2DD7-654E-88ED447720D0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95921" y="248292"/>
            <a:ext cx="603556" cy="7986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635219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5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6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arallelogram 13">
            <a:extLst>
              <a:ext uri="{FF2B5EF4-FFF2-40B4-BE49-F238E27FC236}">
                <a16:creationId xmlns:a16="http://schemas.microsoft.com/office/drawing/2014/main" id="{8E0D5750-4A0D-CCAA-CEB9-C6D77CBE1C7B}"/>
              </a:ext>
            </a:extLst>
          </p:cNvPr>
          <p:cNvSpPr/>
          <p:nvPr/>
        </p:nvSpPr>
        <p:spPr>
          <a:xfrm>
            <a:off x="2828925" y="1695450"/>
            <a:ext cx="9620250" cy="4241802"/>
          </a:xfrm>
          <a:prstGeom prst="parallelogram">
            <a:avLst>
              <a:gd name="adj" fmla="val 56566"/>
            </a:avLst>
          </a:prstGeom>
          <a:solidFill>
            <a:schemeClr val="bg2">
              <a:lumMod val="95000"/>
            </a:schemeClr>
          </a:solidFill>
          <a:ln w="291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ヒラギノ角ゴ Pro W3" pitchFamily="125" charset="-128"/>
              <a:cs typeface="+mn-cs"/>
            </a:endParaRPr>
          </a:p>
        </p:txBody>
      </p:sp>
      <p:pic>
        <p:nvPicPr>
          <p:cNvPr id="69" name="Picture 68">
            <a:hlinkClick r:id="rId4"/>
            <a:extLst>
              <a:ext uri="{FF2B5EF4-FFF2-40B4-BE49-F238E27FC236}">
                <a16:creationId xmlns:a16="http://schemas.microsoft.com/office/drawing/2014/main" id="{8C4C11DD-419E-CAA0-583D-D516C352C9A4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045" t="24097" r="10417" b="365"/>
          <a:stretch/>
        </p:blipFill>
        <p:spPr>
          <a:xfrm>
            <a:off x="151667" y="1485877"/>
            <a:ext cx="6238242" cy="4657748"/>
          </a:xfrm>
          <a:prstGeom prst="rect">
            <a:avLst/>
          </a:prstGeom>
        </p:spPr>
      </p:pic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971D5F8-2FCF-9C5B-1F0F-F4FF9ED00F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44" imgH="343" progId="TCLayout.ActiveDocument.1">
                  <p:embed/>
                </p:oleObj>
              </mc:Choice>
              <mc:Fallback>
                <p:oleObj name="think-cell Slide" r:id="rId6" imgW="344" imgH="343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71D5F8-2FCF-9C5B-1F0F-F4FF9ED00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>
            <a:extLst>
              <a:ext uri="{FF2B5EF4-FFF2-40B4-BE49-F238E27FC236}">
                <a16:creationId xmlns:a16="http://schemas.microsoft.com/office/drawing/2014/main" id="{A5B41D77-B024-673C-8FEF-7D7A775FE263}"/>
              </a:ext>
            </a:extLst>
          </p:cNvPr>
          <p:cNvGrpSpPr/>
          <p:nvPr/>
        </p:nvGrpSpPr>
        <p:grpSpPr>
          <a:xfrm>
            <a:off x="323130" y="407550"/>
            <a:ext cx="5759910" cy="616388"/>
            <a:chOff x="323130" y="407550"/>
            <a:chExt cx="5759910" cy="61638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FC74BF3-D105-5EE4-0CB8-74158A6876AE}"/>
                </a:ext>
              </a:extLst>
            </p:cNvPr>
            <p:cNvSpPr txBox="1"/>
            <p:nvPr/>
          </p:nvSpPr>
          <p:spPr>
            <a:xfrm>
              <a:off x="323130" y="407550"/>
              <a:ext cx="5759910" cy="4801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Eindrücke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 </a:t>
              </a: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Jugendcamp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 NH 2023</a:t>
              </a:r>
              <a:endParaRPr kumimoji="0" lang="de-DE" sz="28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1C25B710-9C4C-CE83-21CD-ABD496F3E26A}"/>
                </a:ext>
              </a:extLst>
            </p:cNvPr>
            <p:cNvCxnSpPr>
              <a:cxnSpLocks/>
            </p:cNvCxnSpPr>
            <p:nvPr/>
          </p:nvCxnSpPr>
          <p:spPr>
            <a:xfrm>
              <a:off x="431800" y="1023938"/>
              <a:ext cx="5378450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A936D8E-8613-CA46-F460-FE5F4C393D72}"/>
              </a:ext>
            </a:extLst>
          </p:cNvPr>
          <p:cNvGrpSpPr/>
          <p:nvPr/>
        </p:nvGrpSpPr>
        <p:grpSpPr>
          <a:xfrm>
            <a:off x="4219575" y="2028825"/>
            <a:ext cx="9620250" cy="3575052"/>
            <a:chOff x="4219575" y="2028825"/>
            <a:chExt cx="9620250" cy="3575052"/>
          </a:xfrm>
        </p:grpSpPr>
        <p:sp>
          <p:nvSpPr>
            <p:cNvPr id="10" name="Parallelogram 9">
              <a:extLst>
                <a:ext uri="{FF2B5EF4-FFF2-40B4-BE49-F238E27FC236}">
                  <a16:creationId xmlns:a16="http://schemas.microsoft.com/office/drawing/2014/main" id="{C8F1930E-9AFB-35D7-460D-AA124C2C8CA4}"/>
                </a:ext>
              </a:extLst>
            </p:cNvPr>
            <p:cNvSpPr/>
            <p:nvPr/>
          </p:nvSpPr>
          <p:spPr>
            <a:xfrm>
              <a:off x="4219575" y="2028825"/>
              <a:ext cx="9620250" cy="3575052"/>
            </a:xfrm>
            <a:prstGeom prst="parallelogram">
              <a:avLst>
                <a:gd name="adj" fmla="val 56566"/>
              </a:avLst>
            </a:prstGeom>
            <a:solidFill>
              <a:schemeClr val="bg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4BA801D-A43F-2E53-A667-5BBE21834336}"/>
                </a:ext>
              </a:extLst>
            </p:cNvPr>
            <p:cNvSpPr txBox="1"/>
            <p:nvPr/>
          </p:nvSpPr>
          <p:spPr>
            <a:xfrm>
              <a:off x="6510836" y="3117184"/>
              <a:ext cx="5147763" cy="1398332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de-DE" sz="2000" i="1" kern="100" dirty="0"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Das Lions-Ziel </a:t>
              </a:r>
              <a:r>
                <a:rPr lang="de-DE" sz="2000" b="1" i="1" kern="100" dirty="0"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„Den Geist gegenseitiger Verständigung unter den Völkern der Welt zu wecken und zu erhalten</a:t>
              </a:r>
              <a:r>
                <a:rPr lang="de-DE" sz="2000" b="1" kern="100" dirty="0"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“ </a:t>
              </a:r>
              <a:r>
                <a:rPr lang="de-DE" sz="2000" kern="100" dirty="0"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latin typeface="Aptos" panose="020B0004020202020204" pitchFamily="34" charset="0"/>
                  <a:ea typeface="Aptos" panose="020B0004020202020204" pitchFamily="34" charset="0"/>
                  <a:cs typeface="Times New Roman" panose="02020603050405020304" pitchFamily="18" charset="0"/>
                </a:rPr>
                <a:t>erlebbar machen!</a:t>
              </a: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1DD08310-4AF8-4423-EDA8-7E6F57A57336}"/>
              </a:ext>
            </a:extLst>
          </p:cNvPr>
          <p:cNvGrpSpPr/>
          <p:nvPr/>
        </p:nvGrpSpPr>
        <p:grpSpPr>
          <a:xfrm>
            <a:off x="3474873" y="4888425"/>
            <a:ext cx="1782341" cy="1048827"/>
            <a:chOff x="4402526" y="3291938"/>
            <a:chExt cx="1782341" cy="1048827"/>
          </a:xfrm>
        </p:grpSpPr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F72A7F1D-72C7-9976-5245-420D40864A6E}"/>
                </a:ext>
              </a:extLst>
            </p:cNvPr>
            <p:cNvSpPr/>
            <p:nvPr/>
          </p:nvSpPr>
          <p:spPr>
            <a:xfrm>
              <a:off x="4402526" y="3291938"/>
              <a:ext cx="1782341" cy="1048827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pic>
          <p:nvPicPr>
            <p:cNvPr id="21" name="Graphic 20" descr="Handshake with solid fill">
              <a:extLst>
                <a:ext uri="{FF2B5EF4-FFF2-40B4-BE49-F238E27FC236}">
                  <a16:creationId xmlns:a16="http://schemas.microsoft.com/office/drawing/2014/main" id="{9FDB165E-AF06-4EDB-23DA-4593234C5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893365" y="3379304"/>
              <a:ext cx="874644" cy="8746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19855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Klebezettel, Kleidung, Person, Handschrift enthält.&#10;&#10;Automatisch generierte Beschreibung">
            <a:extLst>
              <a:ext uri="{FF2B5EF4-FFF2-40B4-BE49-F238E27FC236}">
                <a16:creationId xmlns:a16="http://schemas.microsoft.com/office/drawing/2014/main" id="{8ED99AB9-1CF3-7150-EA89-E383184AF80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5884" r="-1" b="-1"/>
          <a:stretch/>
        </p:blipFill>
        <p:spPr>
          <a:xfrm>
            <a:off x="0" y="1254123"/>
            <a:ext cx="6567339" cy="4768119"/>
          </a:xfrm>
          <a:prstGeom prst="rect">
            <a:avLst/>
          </a:prstGeom>
        </p:spPr>
      </p:pic>
      <p:sp>
        <p:nvSpPr>
          <p:cNvPr id="14" name="Parallelogram 13">
            <a:extLst>
              <a:ext uri="{FF2B5EF4-FFF2-40B4-BE49-F238E27FC236}">
                <a16:creationId xmlns:a16="http://schemas.microsoft.com/office/drawing/2014/main" id="{8E0D5750-4A0D-CCAA-CEB9-C6D77CBE1C7B}"/>
              </a:ext>
            </a:extLst>
          </p:cNvPr>
          <p:cNvSpPr/>
          <p:nvPr/>
        </p:nvSpPr>
        <p:spPr>
          <a:xfrm>
            <a:off x="2342636" y="1265861"/>
            <a:ext cx="10481266" cy="4756382"/>
          </a:xfrm>
          <a:prstGeom prst="parallelogram">
            <a:avLst>
              <a:gd name="adj" fmla="val 56566"/>
            </a:avLst>
          </a:prstGeom>
          <a:solidFill>
            <a:schemeClr val="bg2">
              <a:lumMod val="95000"/>
            </a:schemeClr>
          </a:solidFill>
          <a:ln w="2910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ヒラギノ角ゴ Pro W3" pitchFamily="125" charset="-128"/>
              <a:cs typeface="+mn-cs"/>
            </a:endParaRPr>
          </a:p>
        </p:txBody>
      </p:sp>
      <p:graphicFrame>
        <p:nvGraphicFramePr>
          <p:cNvPr id="18" name="think-cell data - do not delete" hidden="1">
            <a:extLst>
              <a:ext uri="{FF2B5EF4-FFF2-40B4-BE49-F238E27FC236}">
                <a16:creationId xmlns:a16="http://schemas.microsoft.com/office/drawing/2014/main" id="{E971D5F8-2FCF-9C5B-1F0F-F4FF9ED00F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3" progId="TCLayout.ActiveDocument.1">
                  <p:embed/>
                </p:oleObj>
              </mc:Choice>
              <mc:Fallback>
                <p:oleObj name="think-cell Slide" r:id="rId5" imgW="344" imgH="343" progId="TCLayout.ActiveDocument.1">
                  <p:embed/>
                  <p:pic>
                    <p:nvPicPr>
                      <p:cNvPr id="1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971D5F8-2FCF-9C5B-1F0F-F4FF9ED00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4" name="Group 23">
            <a:extLst>
              <a:ext uri="{FF2B5EF4-FFF2-40B4-BE49-F238E27FC236}">
                <a16:creationId xmlns:a16="http://schemas.microsoft.com/office/drawing/2014/main" id="{A5B41D77-B024-673C-8FEF-7D7A775FE263}"/>
              </a:ext>
            </a:extLst>
          </p:cNvPr>
          <p:cNvGrpSpPr/>
          <p:nvPr/>
        </p:nvGrpSpPr>
        <p:grpSpPr>
          <a:xfrm>
            <a:off x="323130" y="407550"/>
            <a:ext cx="9337813" cy="616388"/>
            <a:chOff x="323130" y="407550"/>
            <a:chExt cx="9337813" cy="616388"/>
          </a:xfrm>
        </p:grpSpPr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FC74BF3-D105-5EE4-0CB8-74158A6876AE}"/>
                </a:ext>
              </a:extLst>
            </p:cNvPr>
            <p:cNvSpPr txBox="1"/>
            <p:nvPr/>
          </p:nvSpPr>
          <p:spPr>
            <a:xfrm>
              <a:off x="323130" y="407550"/>
              <a:ext cx="9337813" cy="48013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Fun Facts </a:t>
              </a:r>
              <a:r>
                <a:rPr kumimoji="0" lang="en-US" sz="2800" b="1" i="0" u="none" strike="noStrike" kern="1200" cap="none" spc="0" normalizeH="0" baseline="0" noProof="0" dirty="0" err="1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über</a:t>
              </a:r>
              <a:r>
                <a:rPr kumimoji="0" lang="en-US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00338D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rPr>
                <a:t> den Internationalen Jugendaustausch</a:t>
              </a: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1C25B710-9C4C-CE83-21CD-ABD496F3E26A}"/>
                </a:ext>
              </a:extLst>
            </p:cNvPr>
            <p:cNvCxnSpPr>
              <a:cxnSpLocks/>
            </p:cNvCxnSpPr>
            <p:nvPr/>
          </p:nvCxnSpPr>
          <p:spPr>
            <a:xfrm>
              <a:off x="431800" y="1023938"/>
              <a:ext cx="5378450" cy="0"/>
            </a:xfrm>
            <a:prstGeom prst="line">
              <a:avLst/>
            </a:prstGeom>
            <a:ln w="50800"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2" name="Group 71">
            <a:extLst>
              <a:ext uri="{FF2B5EF4-FFF2-40B4-BE49-F238E27FC236}">
                <a16:creationId xmlns:a16="http://schemas.microsoft.com/office/drawing/2014/main" id="{8A936D8E-8613-CA46-F460-FE5F4C393D72}"/>
              </a:ext>
            </a:extLst>
          </p:cNvPr>
          <p:cNvGrpSpPr/>
          <p:nvPr/>
        </p:nvGrpSpPr>
        <p:grpSpPr>
          <a:xfrm>
            <a:off x="2799405" y="1294492"/>
            <a:ext cx="10154596" cy="5094191"/>
            <a:chOff x="3585223" y="2000861"/>
            <a:chExt cx="9820910" cy="4391581"/>
          </a:xfrm>
        </p:grpSpPr>
        <p:sp>
          <p:nvSpPr>
            <p:cNvPr id="10" name="Parallelogram 9">
              <a:extLst>
                <a:ext uri="{FF2B5EF4-FFF2-40B4-BE49-F238E27FC236}">
                  <a16:creationId xmlns:a16="http://schemas.microsoft.com/office/drawing/2014/main" id="{C8F1930E-9AFB-35D7-460D-AA124C2C8CA4}"/>
                </a:ext>
              </a:extLst>
            </p:cNvPr>
            <p:cNvSpPr/>
            <p:nvPr/>
          </p:nvSpPr>
          <p:spPr>
            <a:xfrm>
              <a:off x="3585223" y="2000861"/>
              <a:ext cx="9697041" cy="3575052"/>
            </a:xfrm>
            <a:prstGeom prst="parallelogram">
              <a:avLst>
                <a:gd name="adj" fmla="val 56566"/>
              </a:avLst>
            </a:prstGeom>
            <a:solidFill>
              <a:schemeClr val="bg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44BA801D-A43F-2E53-A667-5BBE21834336}"/>
                </a:ext>
              </a:extLst>
            </p:cNvPr>
            <p:cNvSpPr txBox="1"/>
            <p:nvPr/>
          </p:nvSpPr>
          <p:spPr>
            <a:xfrm>
              <a:off x="5412756" y="2413555"/>
              <a:ext cx="7993377" cy="3978887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marL="285750" lvl="0" indent="-285750">
                <a:lnSpc>
                  <a:spcPct val="107000"/>
                </a:lnSpc>
                <a:spcAft>
                  <a:spcPts val="800"/>
                </a:spcAft>
                <a:buSzPts val="1000"/>
                <a:buFont typeface="Wingdings" panose="05000000000000000000" pitchFamily="2" charset="2"/>
                <a:buChar char="§"/>
                <a:tabLst>
                  <a:tab pos="457200" algn="l"/>
                </a:tabLst>
              </a:pPr>
              <a:r>
                <a:rPr lang="de-DE" sz="1800" kern="0" dirty="0"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8-12 Camps in D, ca. 100 Camps weltweit </a:t>
              </a:r>
              <a:endParaRPr lang="de-DE" sz="1800" kern="1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endParaRP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SzPts val="1000"/>
                <a:buFont typeface="Wingdings" panose="05000000000000000000" pitchFamily="2" charset="2"/>
                <a:buChar char="§"/>
                <a:tabLst>
                  <a:tab pos="457200" algn="l"/>
                </a:tabLst>
              </a:pPr>
              <a:r>
                <a:rPr lang="de-DE" sz="1800" kern="0" dirty="0"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D im internationalen Ranking - Langjährig Platz 2, jetzt Platz 4</a:t>
              </a:r>
              <a:endParaRPr lang="de-DE" sz="1800" kern="1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endParaRP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SzPts val="1000"/>
                <a:buFont typeface="Wingdings" panose="05000000000000000000" pitchFamily="2" charset="2"/>
                <a:buChar char="§"/>
                <a:tabLst>
                  <a:tab pos="457200" algn="l"/>
                </a:tabLst>
              </a:pPr>
              <a:r>
                <a:rPr lang="de-DE" sz="1800" kern="0" dirty="0"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200 TN in D</a:t>
              </a:r>
              <a:endParaRPr lang="de-DE" sz="1800" kern="1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endParaRP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SzPts val="1000"/>
                <a:buFont typeface="Symbol" panose="05050102010706020507" pitchFamily="18" charset="2"/>
                <a:buChar char=""/>
                <a:tabLst>
                  <a:tab pos="457200" algn="l"/>
                </a:tabLst>
              </a:pPr>
              <a:r>
                <a:rPr lang="de-DE" sz="1800" kern="0" dirty="0"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Ca. 3000 TN jährlich weltweit</a:t>
              </a:r>
              <a:endParaRPr lang="de-DE" sz="1800" kern="1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endParaRPr>
            </a:p>
            <a:p>
              <a:pPr lvl="0">
                <a:lnSpc>
                  <a:spcPct val="107000"/>
                </a:lnSpc>
                <a:spcAft>
                  <a:spcPts val="800"/>
                </a:spcAft>
                <a:buSzPts val="1000"/>
                <a:tabLst>
                  <a:tab pos="457200" algn="l"/>
                </a:tabLst>
              </a:pPr>
              <a:r>
                <a:rPr lang="de-DE" sz="1800" b="1" kern="0" dirty="0">
                  <a:solidFill>
                    <a:schemeClr val="tx2">
                      <a:lumMod val="75000"/>
                      <a:lumOff val="25000"/>
                    </a:schemeClr>
                  </a:solidFill>
                  <a:effectLst/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Was bleibt?</a:t>
              </a:r>
              <a:r>
                <a:rPr lang="de-DE" kern="0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 </a:t>
              </a: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SzPts val="1000"/>
                <a:buFont typeface="Wingdings" panose="05000000000000000000" pitchFamily="2" charset="2"/>
                <a:buChar char="§"/>
                <a:tabLst>
                  <a:tab pos="457200" algn="l"/>
                </a:tabLst>
              </a:pPr>
              <a:r>
                <a:rPr lang="de-DE" kern="0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Die meisten Teilnehmer nehmen mehr als einmal teil</a:t>
              </a:r>
              <a:endParaRPr lang="de-DE" kern="100" dirty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  <a:ea typeface="Aptos" panose="020B0004020202020204" pitchFamily="34" charset="0"/>
                <a:cs typeface="Times New Roman" panose="02020603050405020304" pitchFamily="18" charset="0"/>
              </a:endParaRP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SzPts val="1000"/>
                <a:buFont typeface="Wingdings" panose="05000000000000000000" pitchFamily="2" charset="2"/>
                <a:buChar char="§"/>
                <a:tabLst>
                  <a:tab pos="457200" algn="l"/>
                </a:tabLst>
              </a:pPr>
              <a:r>
                <a:rPr lang="de-DE" kern="0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Viele TN bzw.  ihre Eltern werden Lions und LEOS</a:t>
              </a:r>
              <a:endParaRPr lang="de-DE" kern="100" dirty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  <a:ea typeface="Aptos" panose="020B0004020202020204" pitchFamily="34" charset="0"/>
                <a:cs typeface="Times New Roman" panose="02020603050405020304" pitchFamily="18" charset="0"/>
              </a:endParaRP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SzPts val="1000"/>
                <a:buFont typeface="Wingdings" panose="05000000000000000000" pitchFamily="2" charset="2"/>
                <a:buChar char="§"/>
                <a:tabLst>
                  <a:tab pos="457200" algn="l"/>
                </a:tabLst>
              </a:pPr>
              <a:r>
                <a:rPr lang="de-DE" kern="0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Mehrere Generationen von Gasteltern und Teilnehmer in Familien</a:t>
              </a:r>
              <a:endParaRPr lang="de-DE" kern="100" dirty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  <a:ea typeface="Aptos" panose="020B0004020202020204" pitchFamily="34" charset="0"/>
                <a:cs typeface="Times New Roman" panose="02020603050405020304" pitchFamily="18" charset="0"/>
              </a:endParaRPr>
            </a:p>
            <a:p>
              <a:pPr marL="342900" lvl="0" indent="-342900">
                <a:lnSpc>
                  <a:spcPct val="107000"/>
                </a:lnSpc>
                <a:spcAft>
                  <a:spcPts val="800"/>
                </a:spcAft>
                <a:buSzPts val="1000"/>
                <a:buFont typeface="Wingdings" panose="05000000000000000000" pitchFamily="2" charset="2"/>
                <a:buChar char="§"/>
                <a:tabLst>
                  <a:tab pos="457200" algn="l"/>
                </a:tabLst>
              </a:pPr>
              <a:r>
                <a:rPr lang="de-DE" kern="0" dirty="0">
                  <a:solidFill>
                    <a:schemeClr val="tx2">
                      <a:lumMod val="75000"/>
                      <a:lumOff val="25000"/>
                    </a:schemeClr>
                  </a:solidFill>
                  <a:latin typeface="+mn-lt"/>
                  <a:ea typeface="Times New Roman" panose="02020603050405020304" pitchFamily="18" charset="0"/>
                  <a:cs typeface="Times New Roman" panose="02020603050405020304" pitchFamily="18" charset="0"/>
                </a:rPr>
                <a:t>Positives und junges Image für Lions, Lions wird bekannter</a:t>
              </a:r>
              <a:endParaRPr lang="de-DE" kern="100" dirty="0">
                <a:solidFill>
                  <a:schemeClr val="tx2">
                    <a:lumMod val="75000"/>
                    <a:lumOff val="25000"/>
                  </a:schemeClr>
                </a:solidFill>
                <a:latin typeface="+mn-lt"/>
                <a:ea typeface="Aptos" panose="020B0004020202020204" pitchFamily="34" charset="0"/>
                <a:cs typeface="Times New Roman" panose="02020603050405020304" pitchFamily="18" charset="0"/>
              </a:endParaRPr>
            </a:p>
            <a:p>
              <a:pPr marL="228600">
                <a:lnSpc>
                  <a:spcPct val="107000"/>
                </a:lnSpc>
                <a:spcAft>
                  <a:spcPts val="800"/>
                </a:spcAft>
              </a:pPr>
              <a:endParaRPr lang="de-DE" sz="1800" b="1" kern="100" dirty="0">
                <a:solidFill>
                  <a:schemeClr val="tx2">
                    <a:lumMod val="75000"/>
                    <a:lumOff val="25000"/>
                  </a:schemeClr>
                </a:solidFill>
                <a:effectLst/>
                <a:latin typeface="+mn-lt"/>
                <a:ea typeface="Aptos" panose="020B0004020202020204" pitchFamily="34" charset="0"/>
                <a:cs typeface="Times New Roman" panose="02020603050405020304" pitchFamily="18" charset="0"/>
              </a:endParaRPr>
            </a:p>
            <a:p>
              <a:pPr marL="0" marR="0" lvl="1" indent="-1349241" algn="l" defTabSz="914400" rtl="0" eaLnBrk="1" fontAlgn="b" latinLnBrk="0" hangingPunct="1">
                <a:lnSpc>
                  <a:spcPct val="120000"/>
                </a:lnSpc>
                <a:spcBef>
                  <a:spcPct val="0"/>
                </a:spcBef>
                <a:spcAft>
                  <a:spcPts val="12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1DD08310-4AF8-4423-EDA8-7E6F57A57336}"/>
              </a:ext>
            </a:extLst>
          </p:cNvPr>
          <p:cNvGrpSpPr/>
          <p:nvPr/>
        </p:nvGrpSpPr>
        <p:grpSpPr>
          <a:xfrm>
            <a:off x="1604983" y="4785235"/>
            <a:ext cx="1782341" cy="1048827"/>
            <a:chOff x="4402526" y="3291938"/>
            <a:chExt cx="1782341" cy="1048827"/>
          </a:xfrm>
        </p:grpSpPr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F72A7F1D-72C7-9976-5245-420D40864A6E}"/>
                </a:ext>
              </a:extLst>
            </p:cNvPr>
            <p:cNvSpPr/>
            <p:nvPr/>
          </p:nvSpPr>
          <p:spPr>
            <a:xfrm>
              <a:off x="4402526" y="3291938"/>
              <a:ext cx="1782341" cy="1048827"/>
            </a:xfrm>
            <a:prstGeom prst="parallelogram">
              <a:avLst>
                <a:gd name="adj" fmla="val 56566"/>
              </a:avLst>
            </a:prstGeom>
            <a:solidFill>
              <a:schemeClr val="accent2"/>
            </a:solidFill>
            <a:ln w="12700" cap="flat">
              <a:noFill/>
              <a:prstDash val="solid"/>
              <a:miter/>
            </a:ln>
            <a:effectLst>
              <a:outerShdw blurRad="444500" dist="190500" dir="5400000" algn="t" rotWithShape="0">
                <a:prstClr val="black">
                  <a:alpha val="10000"/>
                </a:prstClr>
              </a:outerShdw>
            </a:effectLst>
          </p:spPr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1" i="0" u="none" strike="noStrike" kern="1200" cap="none" spc="0" normalizeH="0" baseline="0" noProof="0" dirty="0">
                <a:ln>
                  <a:noFill/>
                </a:ln>
                <a:solidFill>
                  <a:srgbClr val="00338D"/>
                </a:solidFill>
                <a:effectLst/>
                <a:uLnTx/>
                <a:uFillTx/>
                <a:latin typeface="Arial"/>
                <a:ea typeface="ヒラギノ角ゴ Pro W3" pitchFamily="125" charset="-128"/>
                <a:cs typeface="+mn-cs"/>
              </a:endParaRPr>
            </a:p>
          </p:txBody>
        </p:sp>
        <p:pic>
          <p:nvPicPr>
            <p:cNvPr id="21" name="Graphic 20" descr="Handshake with solid fill">
              <a:extLst>
                <a:ext uri="{FF2B5EF4-FFF2-40B4-BE49-F238E27FC236}">
                  <a16:creationId xmlns:a16="http://schemas.microsoft.com/office/drawing/2014/main" id="{9FDB165E-AF06-4EDB-23DA-4593234C57A0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4893365" y="3379304"/>
              <a:ext cx="874644" cy="874644"/>
            </a:xfrm>
            <a:prstGeom prst="rect">
              <a:avLst/>
            </a:prstGeom>
          </p:spPr>
        </p:pic>
      </p:grpSp>
      <p:sp>
        <p:nvSpPr>
          <p:cNvPr id="5" name="Textfeld 4">
            <a:extLst>
              <a:ext uri="{FF2B5EF4-FFF2-40B4-BE49-F238E27FC236}">
                <a16:creationId xmlns:a16="http://schemas.microsoft.com/office/drawing/2014/main" id="{3B0E23FE-8173-D807-7124-21AAD137C60E}"/>
              </a:ext>
            </a:extLst>
          </p:cNvPr>
          <p:cNvSpPr txBox="1"/>
          <p:nvPr/>
        </p:nvSpPr>
        <p:spPr>
          <a:xfrm>
            <a:off x="6075802" y="1320571"/>
            <a:ext cx="42481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dirty="0">
                <a:solidFill>
                  <a:schemeClr val="tx2">
                    <a:lumMod val="75000"/>
                    <a:lumOff val="25000"/>
                  </a:schemeClr>
                </a:solidFill>
              </a:rPr>
              <a:t>Wussten Sie schon?</a:t>
            </a:r>
          </a:p>
        </p:txBody>
      </p:sp>
    </p:spTree>
    <p:extLst>
      <p:ext uri="{BB962C8B-B14F-4D97-AF65-F5344CB8AC3E}">
        <p14:creationId xmlns:p14="http://schemas.microsoft.com/office/powerpoint/2010/main" val="35722533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7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7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Grafik 1" descr="Ein Bild, das Menschliches Gesicht, Person, Kleidung, Menschen enthält.&#10;&#10;Automatisch generierte Beschreibung">
            <a:extLst>
              <a:ext uri="{FF2B5EF4-FFF2-40B4-BE49-F238E27FC236}">
                <a16:creationId xmlns:a16="http://schemas.microsoft.com/office/drawing/2014/main" id="{1F52F361-95E0-CDBC-CF4D-FD9F3F675E90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0"/>
            <a:ext cx="12192000" cy="6894195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1D8632FE-3C06-97AE-D6E7-418B98866EB5}"/>
              </a:ext>
            </a:extLst>
          </p:cNvPr>
          <p:cNvGrpSpPr/>
          <p:nvPr/>
        </p:nvGrpSpPr>
        <p:grpSpPr>
          <a:xfrm>
            <a:off x="990600" y="1143000"/>
            <a:ext cx="10344150" cy="4267200"/>
            <a:chOff x="990600" y="1328367"/>
            <a:chExt cx="10344150" cy="4267200"/>
          </a:xfrm>
        </p:grpSpPr>
        <p:grpSp>
          <p:nvGrpSpPr>
            <p:cNvPr id="15" name="Group 14">
              <a:extLst>
                <a:ext uri="{FF2B5EF4-FFF2-40B4-BE49-F238E27FC236}">
                  <a16:creationId xmlns:a16="http://schemas.microsoft.com/office/drawing/2014/main" id="{2295E606-0AA1-A566-957C-038D3A0C6F28}"/>
                </a:ext>
              </a:extLst>
            </p:cNvPr>
            <p:cNvGrpSpPr/>
            <p:nvPr/>
          </p:nvGrpSpPr>
          <p:grpSpPr>
            <a:xfrm>
              <a:off x="990600" y="2261040"/>
              <a:ext cx="10344150" cy="3334527"/>
              <a:chOff x="-1491229" y="-3710789"/>
              <a:chExt cx="10344150" cy="3334527"/>
            </a:xfrm>
          </p:grpSpPr>
          <p:sp>
            <p:nvSpPr>
              <p:cNvPr id="17" name="TextBox 16">
                <a:extLst>
                  <a:ext uri="{FF2B5EF4-FFF2-40B4-BE49-F238E27FC236}">
                    <a16:creationId xmlns:a16="http://schemas.microsoft.com/office/drawing/2014/main" id="{9D622195-C483-CBFB-91FB-F250659017DA}"/>
                  </a:ext>
                </a:extLst>
              </p:cNvPr>
              <p:cNvSpPr txBox="1"/>
              <p:nvPr/>
            </p:nvSpPr>
            <p:spPr>
              <a:xfrm>
                <a:off x="-1491229" y="-3710789"/>
                <a:ext cx="10344150" cy="31393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ヒラギノ角ゴ Pro W3" pitchFamily="125" charset="-128"/>
                    <a:cs typeface="+mn-cs"/>
                  </a:rPr>
                  <a:t>Lasst uns gemeinsam die Jugend fördern!</a:t>
                </a:r>
              </a:p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e-DE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endParaRPr>
              </a:p>
              <a:p>
                <a:pPr marL="0" marR="0" lvl="0" indent="0" algn="ctr" defTabSz="914400" rtl="0" eaLnBrk="1" fontAlgn="auto" latinLnBrk="0" hangingPunct="1">
                  <a:lnSpc>
                    <a:spcPct val="90000"/>
                  </a:lnSpc>
                  <a:spcBef>
                    <a:spcPct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de-DE" sz="4400" b="1" i="0" u="none" strike="noStrike" kern="1200" cap="none" spc="0" normalizeH="0" baseline="0" noProof="0" dirty="0">
                    <a:ln>
                      <a:noFill/>
                    </a:ln>
                    <a:solidFill>
                      <a:srgbClr val="FFFFFF"/>
                    </a:solidFill>
                    <a:effectLst/>
                    <a:uLnTx/>
                    <a:uFillTx/>
                    <a:latin typeface="Arial"/>
                    <a:ea typeface="ヒラギノ角ゴ Pro W3" pitchFamily="125" charset="-128"/>
                    <a:cs typeface="+mn-cs"/>
                  </a:rPr>
                  <a:t>Vielen Dank für Ihre Unterstützung!</a:t>
                </a:r>
                <a:endParaRPr kumimoji="0" lang="en-US" sz="4400" b="1" i="0" u="none" strike="noStrike" kern="120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/>
                  <a:ea typeface="ヒラギノ角ゴ Pro W3" pitchFamily="125" charset="-128"/>
                  <a:cs typeface="+mn-cs"/>
                </a:endParaRPr>
              </a:p>
            </p:txBody>
          </p:sp>
          <p:cxnSp>
            <p:nvCxnSpPr>
              <p:cNvPr id="18" name="Straight Connector 17">
                <a:extLst>
                  <a:ext uri="{FF2B5EF4-FFF2-40B4-BE49-F238E27FC236}">
                    <a16:creationId xmlns:a16="http://schemas.microsoft.com/office/drawing/2014/main" id="{A6F9740B-4DB0-0C42-8AE0-8134915461D9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1937771" y="-376262"/>
                <a:ext cx="2683692" cy="0"/>
              </a:xfrm>
              <a:prstGeom prst="line">
                <a:avLst/>
              </a:prstGeom>
              <a:ln w="50800"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  <p:pic>
          <p:nvPicPr>
            <p:cNvPr id="19" name="Grafik 7" descr="Ein Bild, das Text, Schrift, Logo, Symbol enthält.&#10;&#10;Automatisch generierte Beschreibung">
              <a:extLst>
                <a:ext uri="{FF2B5EF4-FFF2-40B4-BE49-F238E27FC236}">
                  <a16:creationId xmlns:a16="http://schemas.microsoft.com/office/drawing/2014/main" id="{CCAAEC89-3F8D-A13A-A5E2-205FAD60701A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3720687" y="1328367"/>
              <a:ext cx="4750628" cy="999235"/>
            </a:xfrm>
            <a:prstGeom prst="rect">
              <a:avLst/>
            </a:prstGeom>
          </p:spPr>
        </p:pic>
      </p:grpSp>
      <p:sp>
        <p:nvSpPr>
          <p:cNvPr id="20" name="Graphic 9">
            <a:extLst>
              <a:ext uri="{FF2B5EF4-FFF2-40B4-BE49-F238E27FC236}">
                <a16:creationId xmlns:a16="http://schemas.microsoft.com/office/drawing/2014/main" id="{B264721C-A429-2870-3AAD-8D47907773E9}"/>
              </a:ext>
            </a:extLst>
          </p:cNvPr>
          <p:cNvSpPr/>
          <p:nvPr/>
        </p:nvSpPr>
        <p:spPr>
          <a:xfrm>
            <a:off x="10740193" y="4343400"/>
            <a:ext cx="1451806" cy="2514600"/>
          </a:xfrm>
          <a:custGeom>
            <a:avLst/>
            <a:gdLst>
              <a:gd name="connsiteX0" fmla="*/ 0 w 1451806"/>
              <a:gd name="connsiteY0" fmla="*/ 2514600 h 2514600"/>
              <a:gd name="connsiteX1" fmla="*/ 1451806 w 1451806"/>
              <a:gd name="connsiteY1" fmla="*/ 0 h 2514600"/>
              <a:gd name="connsiteX2" fmla="*/ 1451806 w 1451806"/>
              <a:gd name="connsiteY2" fmla="*/ 251460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1806" h="2514600">
                <a:moveTo>
                  <a:pt x="0" y="2514600"/>
                </a:moveTo>
                <a:lnTo>
                  <a:pt x="1451806" y="0"/>
                </a:lnTo>
                <a:lnTo>
                  <a:pt x="1451806" y="251460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 w="793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ヒラギノ角ゴ Pro W3" pitchFamily="125" charset="-128"/>
              <a:cs typeface="+mn-cs"/>
            </a:endParaRPr>
          </a:p>
        </p:txBody>
      </p:sp>
      <p:sp>
        <p:nvSpPr>
          <p:cNvPr id="21" name="Graphic 9">
            <a:extLst>
              <a:ext uri="{FF2B5EF4-FFF2-40B4-BE49-F238E27FC236}">
                <a16:creationId xmlns:a16="http://schemas.microsoft.com/office/drawing/2014/main" id="{8E0DCFA8-3372-B05C-AFFB-DB369DEA611D}"/>
              </a:ext>
            </a:extLst>
          </p:cNvPr>
          <p:cNvSpPr/>
          <p:nvPr/>
        </p:nvSpPr>
        <p:spPr>
          <a:xfrm rot="10800000">
            <a:off x="1" y="0"/>
            <a:ext cx="1451806" cy="2514600"/>
          </a:xfrm>
          <a:custGeom>
            <a:avLst/>
            <a:gdLst>
              <a:gd name="connsiteX0" fmla="*/ 0 w 1451806"/>
              <a:gd name="connsiteY0" fmla="*/ 2514600 h 2514600"/>
              <a:gd name="connsiteX1" fmla="*/ 1451806 w 1451806"/>
              <a:gd name="connsiteY1" fmla="*/ 0 h 2514600"/>
              <a:gd name="connsiteX2" fmla="*/ 1451806 w 1451806"/>
              <a:gd name="connsiteY2" fmla="*/ 2514600 h 2514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1451806" h="2514600">
                <a:moveTo>
                  <a:pt x="0" y="2514600"/>
                </a:moveTo>
                <a:lnTo>
                  <a:pt x="1451806" y="0"/>
                </a:lnTo>
                <a:lnTo>
                  <a:pt x="1451806" y="2514600"/>
                </a:lnTo>
                <a:close/>
              </a:path>
            </a:pathLst>
          </a:custGeom>
          <a:solidFill>
            <a:schemeClr val="bg1">
              <a:alpha val="10000"/>
            </a:schemeClr>
          </a:solidFill>
          <a:ln w="7938" cap="flat">
            <a:noFill/>
            <a:prstDash val="solid"/>
            <a:miter/>
          </a:ln>
        </p:spPr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ヒラギノ角ゴ Pro W3" pitchFamily="125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005739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decel="100000" fill="hold" nodeType="withEffect">
                                  <p:stCondLst>
                                    <p:cond delay="75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750"/>
                            </p:stCondLst>
                            <p:childTnLst>
                              <p:par>
                                <p:cTn id="10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 animBg="1"/>
      <p:bldP spid="21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">
  <a:themeElements>
    <a:clrScheme name="Lions Club International">
      <a:dk1>
        <a:srgbClr val="33373B"/>
      </a:dk1>
      <a:lt1>
        <a:sysClr val="window" lastClr="FFFFFF"/>
      </a:lt1>
      <a:dk2>
        <a:srgbClr val="002F87"/>
      </a:dk2>
      <a:lt2>
        <a:srgbClr val="FFD000"/>
      </a:lt2>
      <a:accent1>
        <a:srgbClr val="FFC000"/>
      </a:accent1>
      <a:accent2>
        <a:srgbClr val="D9D9D9"/>
      </a:accent2>
      <a:accent3>
        <a:srgbClr val="00A7DC"/>
      </a:accent3>
      <a:accent4>
        <a:srgbClr val="F65126"/>
      </a:accent4>
      <a:accent5>
        <a:srgbClr val="00AF66"/>
      </a:accent5>
      <a:accent6>
        <a:srgbClr val="000000"/>
      </a:accent6>
      <a:hlink>
        <a:srgbClr val="C3C3C3"/>
      </a:hlink>
      <a:folHlink>
        <a:srgbClr val="D9D9D9"/>
      </a:folHlink>
    </a:clrScheme>
    <a:fontScheme name="Custom 1">
      <a:majorFont>
        <a:latin typeface="Segoe UI Light"/>
        <a:ea typeface=""/>
        <a:cs typeface=""/>
      </a:majorFont>
      <a:minorFont>
        <a:latin typeface="Segoe UI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609600" marR="0" indent="-609600" algn="ctr" defTabSz="914400" rtl="0" eaLnBrk="1" fontAlgn="base" latinLnBrk="0" hangingPunct="1">
          <a:spcAft>
            <a:spcPct val="0"/>
          </a:spcAft>
          <a:buClrTx/>
          <a:buSzTx/>
          <a:buFont typeface="Helvetica" pitchFamily="84" charset="0"/>
          <a:buNone/>
          <a:tabLst/>
          <a:defRPr kumimoji="0" sz="3000" b="0" i="0" u="none" strike="noStrike" cap="none" normalizeH="0" dirty="0" err="1" smtClean="0">
            <a:ln>
              <a:noFill/>
            </a:ln>
            <a:solidFill>
              <a:srgbClr val="404040"/>
            </a:solidFill>
            <a:effectLst/>
            <a:ea typeface="ヒラギノ角ゴ Pro W3" pitchFamily="8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609600" marR="0" indent="-609600" algn="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 typeface="Helvetica" pitchFamily="84" charset="0"/>
          <a:buNone/>
          <a:tabLst/>
          <a:defRPr kumimoji="0" lang="en-US" sz="3200" b="0" i="0" u="none" strike="noStrike" cap="none" normalizeH="0" baseline="-25000" smtClean="0">
            <a:ln>
              <a:noFill/>
            </a:ln>
            <a:solidFill>
              <a:srgbClr val="404040"/>
            </a:solidFill>
            <a:effectLst/>
            <a:latin typeface="Helvetica" pitchFamily="84" charset="0"/>
            <a:ea typeface="ヒラギノ角ゴ Pro W3" pitchFamily="8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3000" dirty="0" err="1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White Page Number">
  <a:themeElements>
    <a:clrScheme name="Lions Club International">
      <a:dk1>
        <a:srgbClr val="33373B"/>
      </a:dk1>
      <a:lt1>
        <a:sysClr val="window" lastClr="FFFFFF"/>
      </a:lt1>
      <a:dk2>
        <a:srgbClr val="002F87"/>
      </a:dk2>
      <a:lt2>
        <a:srgbClr val="FFD000"/>
      </a:lt2>
      <a:accent1>
        <a:srgbClr val="FFC000"/>
      </a:accent1>
      <a:accent2>
        <a:srgbClr val="D9D9D9"/>
      </a:accent2>
      <a:accent3>
        <a:srgbClr val="00A7DC"/>
      </a:accent3>
      <a:accent4>
        <a:srgbClr val="F65126"/>
      </a:accent4>
      <a:accent5>
        <a:srgbClr val="00AF66"/>
      </a:accent5>
      <a:accent6>
        <a:srgbClr val="000000"/>
      </a:accent6>
      <a:hlink>
        <a:srgbClr val="C3C3C3"/>
      </a:hlink>
      <a:folHlink>
        <a:srgbClr val="D9D9D9"/>
      </a:folHlink>
    </a:clrScheme>
    <a:fontScheme name="Custom 1">
      <a:majorFont>
        <a:latin typeface="Segoe UI Light"/>
        <a:ea typeface=""/>
        <a:cs typeface=""/>
      </a:majorFont>
      <a:minorFont>
        <a:latin typeface="Segoe UI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609600" marR="0" indent="-609600" algn="ctr" defTabSz="914400" rtl="0" eaLnBrk="1" fontAlgn="base" latinLnBrk="0" hangingPunct="1">
          <a:spcAft>
            <a:spcPct val="0"/>
          </a:spcAft>
          <a:buClrTx/>
          <a:buSzTx/>
          <a:buFont typeface="Helvetica" pitchFamily="84" charset="0"/>
          <a:buNone/>
          <a:tabLst/>
          <a:defRPr kumimoji="0" sz="3000" b="0" i="0" u="none" strike="noStrike" cap="none" normalizeH="0" dirty="0" err="1" smtClean="0">
            <a:ln>
              <a:noFill/>
            </a:ln>
            <a:solidFill>
              <a:srgbClr val="404040"/>
            </a:solidFill>
            <a:effectLst/>
            <a:ea typeface="ヒラギノ角ゴ Pro W3" pitchFamily="8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609600" marR="0" indent="-609600" algn="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 typeface="Helvetica" pitchFamily="84" charset="0"/>
          <a:buNone/>
          <a:tabLst/>
          <a:defRPr kumimoji="0" lang="en-US" sz="3200" b="0" i="0" u="none" strike="noStrike" cap="none" normalizeH="0" baseline="-25000" smtClean="0">
            <a:ln>
              <a:noFill/>
            </a:ln>
            <a:solidFill>
              <a:srgbClr val="404040"/>
            </a:solidFill>
            <a:effectLst/>
            <a:latin typeface="Helvetica" pitchFamily="84" charset="0"/>
            <a:ea typeface="ヒラギノ角ゴ Pro W3" pitchFamily="8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3000" dirty="0" err="1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No Page Number">
  <a:themeElements>
    <a:clrScheme name="Lions Club International">
      <a:dk1>
        <a:srgbClr val="33373B"/>
      </a:dk1>
      <a:lt1>
        <a:sysClr val="window" lastClr="FFFFFF"/>
      </a:lt1>
      <a:dk2>
        <a:srgbClr val="002F87"/>
      </a:dk2>
      <a:lt2>
        <a:srgbClr val="FFD000"/>
      </a:lt2>
      <a:accent1>
        <a:srgbClr val="FFC000"/>
      </a:accent1>
      <a:accent2>
        <a:srgbClr val="D9D9D9"/>
      </a:accent2>
      <a:accent3>
        <a:srgbClr val="00A7DC"/>
      </a:accent3>
      <a:accent4>
        <a:srgbClr val="F65126"/>
      </a:accent4>
      <a:accent5>
        <a:srgbClr val="00AF66"/>
      </a:accent5>
      <a:accent6>
        <a:srgbClr val="000000"/>
      </a:accent6>
      <a:hlink>
        <a:srgbClr val="C3C3C3"/>
      </a:hlink>
      <a:folHlink>
        <a:srgbClr val="D9D9D9"/>
      </a:folHlink>
    </a:clrScheme>
    <a:fontScheme name="Custom 1">
      <a:majorFont>
        <a:latin typeface="Segoe UI Light"/>
        <a:ea typeface=""/>
        <a:cs typeface=""/>
      </a:majorFont>
      <a:minorFont>
        <a:latin typeface="Segoe UI Semibold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rgbClr val="FFFF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</a:bodyPr>
      <a:lstStyle>
        <a:defPPr marL="609600" marR="0" indent="-609600" algn="ctr" defTabSz="914400" rtl="0" eaLnBrk="1" fontAlgn="base" latinLnBrk="0" hangingPunct="1">
          <a:spcAft>
            <a:spcPct val="0"/>
          </a:spcAft>
          <a:buClrTx/>
          <a:buSzTx/>
          <a:buFont typeface="Helvetica" pitchFamily="84" charset="0"/>
          <a:buNone/>
          <a:tabLst/>
          <a:defRPr kumimoji="0" sz="3000" b="0" i="0" u="none" strike="noStrike" cap="none" normalizeH="0" dirty="0" err="1" smtClean="0">
            <a:ln>
              <a:noFill/>
            </a:ln>
            <a:solidFill>
              <a:srgbClr val="404040"/>
            </a:solidFill>
            <a:effectLst/>
            <a:ea typeface="ヒラギノ角ゴ Pro W3" pitchFamily="84" charset="-128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FFFF"/>
        </a:solidFill>
        <a:ln w="9525" cap="flat" cmpd="sng" algn="ctr">
          <a:solidFill>
            <a:srgbClr val="00000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609600" marR="0" indent="-609600" algn="r" defTabSz="914400" rtl="0" eaLnBrk="1" fontAlgn="base" latinLnBrk="0" hangingPunct="1">
          <a:lnSpc>
            <a:spcPct val="90000"/>
          </a:lnSpc>
          <a:spcBef>
            <a:spcPct val="20000"/>
          </a:spcBef>
          <a:spcAft>
            <a:spcPct val="0"/>
          </a:spcAft>
          <a:buClrTx/>
          <a:buSzTx/>
          <a:buFont typeface="Helvetica" pitchFamily="84" charset="0"/>
          <a:buNone/>
          <a:tabLst/>
          <a:defRPr kumimoji="0" lang="en-US" sz="3200" b="0" i="0" u="none" strike="noStrike" cap="none" normalizeH="0" baseline="-25000" smtClean="0">
            <a:ln>
              <a:noFill/>
            </a:ln>
            <a:solidFill>
              <a:srgbClr val="404040"/>
            </a:solidFill>
            <a:effectLst/>
            <a:latin typeface="Helvetica" pitchFamily="84" charset="0"/>
            <a:ea typeface="ヒラギノ角ゴ Pro W3" pitchFamily="84" charset="-128"/>
          </a:defRPr>
        </a:defPPr>
      </a:lstStyle>
    </a:lnDef>
    <a:txDef>
      <a:spPr>
        <a:noFill/>
      </a:spPr>
      <a:bodyPr wrap="square" rtlCol="0">
        <a:spAutoFit/>
      </a:bodyPr>
      <a:lstStyle>
        <a:defPPr>
          <a:defRPr sz="3000" dirty="0" err="1" smtClean="0"/>
        </a:defPPr>
      </a:lstStyle>
    </a:txDef>
  </a:objectDefaults>
  <a:extraClrSchemeLst>
    <a:extraClrScheme>
      <a:clrScheme name="Custom Design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stom Design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ustom Design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Office Theme">
  <a:themeElements>
    <a:clrScheme name="Custom 959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338D"/>
      </a:accent1>
      <a:accent2>
        <a:srgbClr val="EBB700"/>
      </a:accent2>
      <a:accent3>
        <a:srgbClr val="7A2582"/>
      </a:accent3>
      <a:accent4>
        <a:srgbClr val="407CCA"/>
      </a:accent4>
      <a:accent5>
        <a:srgbClr val="00AB68"/>
      </a:accent5>
      <a:accent6>
        <a:srgbClr val="FF5B35"/>
      </a:accent6>
      <a:hlink>
        <a:srgbClr val="0563C1"/>
      </a:hlink>
      <a:folHlink>
        <a:srgbClr val="954F72"/>
      </a:folHlink>
    </a:clrScheme>
    <a:fontScheme name="Custom 70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1_Office Theme">
  <a:themeElements>
    <a:clrScheme name="Custom 959">
      <a:dk1>
        <a:sysClr val="windowText" lastClr="000000"/>
      </a:dk1>
      <a:lt1>
        <a:sysClr val="window" lastClr="FFFFFF"/>
      </a:lt1>
      <a:dk2>
        <a:srgbClr val="000000"/>
      </a:dk2>
      <a:lt2>
        <a:srgbClr val="FFFFFF"/>
      </a:lt2>
      <a:accent1>
        <a:srgbClr val="00338D"/>
      </a:accent1>
      <a:accent2>
        <a:srgbClr val="EBB700"/>
      </a:accent2>
      <a:accent3>
        <a:srgbClr val="7A2582"/>
      </a:accent3>
      <a:accent4>
        <a:srgbClr val="407CCA"/>
      </a:accent4>
      <a:accent5>
        <a:srgbClr val="00AB68"/>
      </a:accent5>
      <a:accent6>
        <a:srgbClr val="FF5B35"/>
      </a:accent6>
      <a:hlink>
        <a:srgbClr val="0563C1"/>
      </a:hlink>
      <a:folHlink>
        <a:srgbClr val="954F72"/>
      </a:folHlink>
    </a:clrScheme>
    <a:fontScheme name="Custom 70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75A8D4EDE643945BAA82E38DD69E065" ma:contentTypeVersion="3" ma:contentTypeDescription="Create a new document." ma:contentTypeScope="" ma:versionID="9b02c1e8987dd280cc01bc84d3c16527">
  <xsd:schema xmlns:xsd="http://www.w3.org/2001/XMLSchema" xmlns:xs="http://www.w3.org/2001/XMLSchema" xmlns:p="http://schemas.microsoft.com/office/2006/metadata/properties" xmlns:ns2="a7495015-d16d-4dd1-a72f-488cd8119f34" targetNamespace="http://schemas.microsoft.com/office/2006/metadata/properties" ma:root="true" ma:fieldsID="b78db394faa2d7461e33401fde30deec" ns2:_="">
    <xsd:import namespace="a7495015-d16d-4dd1-a72f-488cd8119f3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7495015-d16d-4dd1-a72f-488cd8119f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5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F65FF038-D687-4170-9B83-093AAB34CB7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a7495015-d16d-4dd1-a72f-488cd8119f3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74C6324C-4351-4A54-A5CC-A482A4792C6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82C1470-9FF8-4C48-A872-BCD0DE68C023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06A8C181-E056-415E-9B59-40F04FA43837}">
  <ds:schemaRefs>
    <ds:schemaRef ds:uri="http://purl.org/dc/dcmitype/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schemas.microsoft.com/office/2006/documentManagement/types"/>
    <ds:schemaRef ds:uri="http://schemas.openxmlformats.org/package/2006/metadata/core-properties"/>
    <ds:schemaRef ds:uri="a7495015-d16d-4dd1-a72f-488cd8119f34"/>
    <ds:schemaRef ds:uri="http://www.w3.org/XML/1998/namespace"/>
    <ds:schemaRef ds:uri="http://purl.org/dc/terms/"/>
  </ds:schemaRefs>
</ds:datastoreItem>
</file>

<file path=customXml/itemProps5.xml><?xml version="1.0" encoding="utf-8"?>
<ds:datastoreItem xmlns:ds="http://schemas.openxmlformats.org/officeDocument/2006/customXml" ds:itemID="{8C1FB9C5-FCF7-40CA-B88F-2FCAC75B8805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ions_PowerPoint_Template_June2016_Template-1</Template>
  <TotalTime>0</TotalTime>
  <Words>503</Words>
  <Application>Microsoft Office PowerPoint</Application>
  <PresentationFormat>Breitbild</PresentationFormat>
  <Paragraphs>62</Paragraphs>
  <Slides>8</Slides>
  <Notes>5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12</vt:i4>
      </vt:variant>
      <vt:variant>
        <vt:lpstr>Design</vt:lpstr>
      </vt:variant>
      <vt:variant>
        <vt:i4>5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8</vt:i4>
      </vt:variant>
    </vt:vector>
  </HeadingPairs>
  <TitlesOfParts>
    <vt:vector size="26" baseType="lpstr">
      <vt:lpstr>Aptos</vt:lpstr>
      <vt:lpstr>Arial</vt:lpstr>
      <vt:lpstr>Arial Hebrew Scholar</vt:lpstr>
      <vt:lpstr>Calibri</vt:lpstr>
      <vt:lpstr>Helvetica</vt:lpstr>
      <vt:lpstr>Helvetica Neue</vt:lpstr>
      <vt:lpstr>Open Sans</vt:lpstr>
      <vt:lpstr>Open Sans Light</vt:lpstr>
      <vt:lpstr>Segoe UI</vt:lpstr>
      <vt:lpstr>Symbol</vt:lpstr>
      <vt:lpstr>Wingdings</vt:lpstr>
      <vt:lpstr>ヒラギノ角ゴ Pro W3</vt:lpstr>
      <vt:lpstr>1</vt:lpstr>
      <vt:lpstr>White Page Number</vt:lpstr>
      <vt:lpstr>No Page Number</vt:lpstr>
      <vt:lpstr>Office Theme</vt:lpstr>
      <vt:lpstr>1_Office Theme</vt:lpstr>
      <vt:lpstr>think-cell Slide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  <vt:lpstr>PowerPoint-Präsentation</vt:lpstr>
    </vt:vector>
  </TitlesOfParts>
  <Company>Lions Clubs International</Company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Pitchguru</dc:creator>
  <cp:lastModifiedBy>Christina Bauer</cp:lastModifiedBy>
  <cp:revision>2866</cp:revision>
  <cp:lastPrinted>2017-06-29T03:55:04Z</cp:lastPrinted>
  <dcterms:created xsi:type="dcterms:W3CDTF">2016-11-15T15:12:50Z</dcterms:created>
  <dcterms:modified xsi:type="dcterms:W3CDTF">2024-05-15T19:33:4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dlc_DocId">
    <vt:lpwstr>2Z733PFY5E2U-163-69</vt:lpwstr>
  </property>
  <property fmtid="{D5CDD505-2E9C-101B-9397-08002B2CF9AE}" pid="3" name="_dlc_DocIdItemGuid">
    <vt:lpwstr>527daf3e-de7e-428b-8481-11904d93cdc4</vt:lpwstr>
  </property>
  <property fmtid="{D5CDD505-2E9C-101B-9397-08002B2CF9AE}" pid="4" name="_dlc_DocIdUrl">
    <vt:lpwstr>http://my.lionsclubs.org/Divisions/PR/_layouts/DocIdRedir.aspx?ID=2Z733PFY5E2U-163-69, 2Z733PFY5E2U-163-69</vt:lpwstr>
  </property>
</Properties>
</file>